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A05_5541C524.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omments/modernComment_A08_29D26106.xml" ContentType="application/vnd.ms-powerpoint.comments+xml"/>
  <Override PartName="/ppt/tags/tag19.xml" ContentType="application/vnd.openxmlformats-officedocument.presentationml.tags+xml"/>
  <Override PartName="/ppt/tags/tag20.xml" ContentType="application/vnd.openxmlformats-officedocument.presentationml.tags+xml"/>
  <Override PartName="/ppt/comments/modernComment_A0A_766C6F55.xml" ContentType="application/vnd.ms-powerpoint.comments+xml"/>
  <Override PartName="/ppt/tags/tag21.xml" ContentType="application/vnd.openxmlformats-officedocument.presentationml.tags+xml"/>
  <Override PartName="/ppt/tags/tag22.xml" ContentType="application/vnd.openxmlformats-officedocument.presentationml.tags+xml"/>
  <Override PartName="/ppt/comments/modernComment_A0D_541BD0A7.xml" ContentType="application/vnd.ms-powerpoint.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sldIdLst>
    <p:sldId id="474" r:id="rId5"/>
    <p:sldId id="2565" r:id="rId6"/>
    <p:sldId id="2567" r:id="rId7"/>
    <p:sldId id="2569" r:id="rId8"/>
    <p:sldId id="2574" r:id="rId9"/>
    <p:sldId id="2568" r:id="rId10"/>
    <p:sldId id="2570" r:id="rId11"/>
    <p:sldId id="2573" r:id="rId12"/>
    <p:sldId id="2572" r:id="rId13"/>
    <p:sldId id="2575" r:id="rId14"/>
    <p:sldId id="2576" r:id="rId15"/>
    <p:sldId id="2577" r:id="rId16"/>
    <p:sldId id="2578" r:id="rId17"/>
    <p:sldId id="2579" r:id="rId18"/>
    <p:sldId id="944" r:id="rId19"/>
  </p:sldIdLst>
  <p:sldSz cx="11522075" cy="6484938"/>
  <p:notesSz cx="7315200" cy="123444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5AE42A-44C9-A3D6-7B56-C74F01BA23FD}" name="JOSE ANTONIO ORDOÑEZ LUCENA" initials="JAOL" userId="S::joseantonio.ordonezlucena@telefonica.com::ec8dd69b-01fe-4d41-a294-c2927b548e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0"/>
    <a:srgbClr val="32B9AF"/>
    <a:srgbClr val="FF75BA"/>
    <a:srgbClr val="A4A4A4"/>
    <a:srgbClr val="00A2B8"/>
    <a:srgbClr val="D9E4E5"/>
    <a:srgbClr val="00A8E6"/>
    <a:srgbClr val="FFC000"/>
    <a:srgbClr val="14AFE4"/>
    <a:srgbClr val="FF9A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EEDD06-C1A4-414C-A964-FE3044749A60}" v="184" dt="2022-07-27T16:16:17.2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4"/>
    <p:restoredTop sz="94384"/>
  </p:normalViewPr>
  <p:slideViewPr>
    <p:cSldViewPr snapToGrid="0">
      <p:cViewPr>
        <p:scale>
          <a:sx n="100" d="100"/>
          <a:sy n="100" d="100"/>
        </p:scale>
        <p:origin x="568" y="344"/>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 ANTONIO ORDOÑEZ LUCENA" userId="ec8dd69b-01fe-4d41-a294-c2927b548e27" providerId="ADAL" clId="{91EEDD06-C1A4-414C-A964-FE3044749A60}"/>
    <pc:docChg chg="undo custSel addSld delSld modSld sldOrd">
      <pc:chgData name="JOSE ANTONIO ORDOÑEZ LUCENA" userId="ec8dd69b-01fe-4d41-a294-c2927b548e27" providerId="ADAL" clId="{91EEDD06-C1A4-414C-A964-FE3044749A60}" dt="2022-08-01T13:37:49.677" v="25868" actId="20577"/>
      <pc:docMkLst>
        <pc:docMk/>
      </pc:docMkLst>
      <pc:sldChg chg="modSp mod">
        <pc:chgData name="JOSE ANTONIO ORDOÑEZ LUCENA" userId="ec8dd69b-01fe-4d41-a294-c2927b548e27" providerId="ADAL" clId="{91EEDD06-C1A4-414C-A964-FE3044749A60}" dt="2022-07-26T18:18:27.157" v="203" actId="20577"/>
        <pc:sldMkLst>
          <pc:docMk/>
          <pc:sldMk cId="3888384040" sldId="474"/>
        </pc:sldMkLst>
        <pc:spChg chg="mod">
          <ac:chgData name="JOSE ANTONIO ORDOÑEZ LUCENA" userId="ec8dd69b-01fe-4d41-a294-c2927b548e27" providerId="ADAL" clId="{91EEDD06-C1A4-414C-A964-FE3044749A60}" dt="2022-07-26T18:18:27.157" v="203" actId="20577"/>
          <ac:spMkLst>
            <pc:docMk/>
            <pc:sldMk cId="3888384040" sldId="474"/>
            <ac:spMk id="10" creationId="{00000000-0000-0000-0000-000000000000}"/>
          </ac:spMkLst>
        </pc:spChg>
      </pc:sldChg>
      <pc:sldChg chg="del">
        <pc:chgData name="JOSE ANTONIO ORDOÑEZ LUCENA" userId="ec8dd69b-01fe-4d41-a294-c2927b548e27" providerId="ADAL" clId="{91EEDD06-C1A4-414C-A964-FE3044749A60}" dt="2022-07-27T07:17:17.625" v="20564" actId="2696"/>
        <pc:sldMkLst>
          <pc:docMk/>
          <pc:sldMk cId="2503188442" sldId="951"/>
        </pc:sldMkLst>
      </pc:sldChg>
      <pc:sldChg chg="addSp delSp modSp mod addCm">
        <pc:chgData name="JOSE ANTONIO ORDOÑEZ LUCENA" userId="ec8dd69b-01fe-4d41-a294-c2927b548e27" providerId="ADAL" clId="{91EEDD06-C1A4-414C-A964-FE3044749A60}" dt="2022-07-27T15:19:18.368" v="25656"/>
        <pc:sldMkLst>
          <pc:docMk/>
          <pc:sldMk cId="1430373668" sldId="2565"/>
        </pc:sldMkLst>
        <pc:spChg chg="add mod">
          <ac:chgData name="JOSE ANTONIO ORDOÑEZ LUCENA" userId="ec8dd69b-01fe-4d41-a294-c2927b548e27" providerId="ADAL" clId="{91EEDD06-C1A4-414C-A964-FE3044749A60}" dt="2022-07-26T18:19:27.804" v="220" actId="208"/>
          <ac:spMkLst>
            <pc:docMk/>
            <pc:sldMk cId="1430373668" sldId="2565"/>
            <ac:spMk id="4" creationId="{7570DCF2-F9FC-4868-06D2-BA8089B8560A}"/>
          </ac:spMkLst>
        </pc:spChg>
        <pc:spChg chg="add mod">
          <ac:chgData name="JOSE ANTONIO ORDOÑEZ LUCENA" userId="ec8dd69b-01fe-4d41-a294-c2927b548e27" providerId="ADAL" clId="{91EEDD06-C1A4-414C-A964-FE3044749A60}" dt="2022-07-26T18:19:51.223" v="228" actId="207"/>
          <ac:spMkLst>
            <pc:docMk/>
            <pc:sldMk cId="1430373668" sldId="2565"/>
            <ac:spMk id="5" creationId="{B0CD815F-003E-F192-B24E-5023BA18E4E6}"/>
          </ac:spMkLst>
        </pc:spChg>
        <pc:spChg chg="add del mod">
          <ac:chgData name="JOSE ANTONIO ORDOÑEZ LUCENA" userId="ec8dd69b-01fe-4d41-a294-c2927b548e27" providerId="ADAL" clId="{91EEDD06-C1A4-414C-A964-FE3044749A60}" dt="2022-07-26T18:37:46.152" v="2040" actId="478"/>
          <ac:spMkLst>
            <pc:docMk/>
            <pc:sldMk cId="1430373668" sldId="2565"/>
            <ac:spMk id="6" creationId="{6C28B980-D576-B94A-81B6-69C38D8DA2CF}"/>
          </ac:spMkLst>
        </pc:spChg>
        <pc:spChg chg="mod">
          <ac:chgData name="JOSE ANTONIO ORDOÑEZ LUCENA" userId="ec8dd69b-01fe-4d41-a294-c2927b548e27" providerId="ADAL" clId="{91EEDD06-C1A4-414C-A964-FE3044749A60}" dt="2022-07-27T15:17:43.311" v="25653" actId="207"/>
          <ac:spMkLst>
            <pc:docMk/>
            <pc:sldMk cId="1430373668" sldId="2565"/>
            <ac:spMk id="40" creationId="{2B34A439-4037-D943-1591-6E4E82255201}"/>
          </ac:spMkLst>
        </pc:spChg>
        <pc:spChg chg="mod">
          <ac:chgData name="JOSE ANTONIO ORDOÑEZ LUCENA" userId="ec8dd69b-01fe-4d41-a294-c2927b548e27" providerId="ADAL" clId="{91EEDD06-C1A4-414C-A964-FE3044749A60}" dt="2022-07-27T15:17:45.495" v="25655" actId="207"/>
          <ac:spMkLst>
            <pc:docMk/>
            <pc:sldMk cId="1430373668" sldId="2565"/>
            <ac:spMk id="151" creationId="{6684581F-F31E-6209-2010-52EA325997DF}"/>
          </ac:spMkLst>
        </pc:spChg>
        <pc:spChg chg="mod">
          <ac:chgData name="JOSE ANTONIO ORDOÑEZ LUCENA" userId="ec8dd69b-01fe-4d41-a294-c2927b548e27" providerId="ADAL" clId="{91EEDD06-C1A4-414C-A964-FE3044749A60}" dt="2022-07-27T15:17:45.369" v="25654" actId="207"/>
          <ac:spMkLst>
            <pc:docMk/>
            <pc:sldMk cId="1430373668" sldId="2565"/>
            <ac:spMk id="152" creationId="{07B6D236-BF79-4379-1D7F-701B9614FD5B}"/>
          </ac:spMkLst>
        </pc:spChg>
        <pc:spChg chg="mod">
          <ac:chgData name="JOSE ANTONIO ORDOÑEZ LUCENA" userId="ec8dd69b-01fe-4d41-a294-c2927b548e27" providerId="ADAL" clId="{91EEDD06-C1A4-414C-A964-FE3044749A60}" dt="2022-07-27T15:16:40.028" v="25649" actId="20577"/>
          <ac:spMkLst>
            <pc:docMk/>
            <pc:sldMk cId="1430373668" sldId="2565"/>
            <ac:spMk id="166" creationId="{DB999C2A-191A-2ED0-0E2D-23DD4D206DB1}"/>
          </ac:spMkLst>
        </pc:spChg>
        <pc:spChg chg="mod">
          <ac:chgData name="JOSE ANTONIO ORDOÑEZ LUCENA" userId="ec8dd69b-01fe-4d41-a294-c2927b548e27" providerId="ADAL" clId="{91EEDD06-C1A4-414C-A964-FE3044749A60}" dt="2022-07-27T06:25:25.950" v="14229" actId="20577"/>
          <ac:spMkLst>
            <pc:docMk/>
            <pc:sldMk cId="1430373668" sldId="2565"/>
            <ac:spMk id="173" creationId="{E655A639-7AF4-41F1-BDD7-3D8361ED8218}"/>
          </ac:spMkLst>
        </pc:spChg>
        <pc:spChg chg="add del mod">
          <ac:chgData name="JOSE ANTONIO ORDOÑEZ LUCENA" userId="ec8dd69b-01fe-4d41-a294-c2927b548e27" providerId="ADAL" clId="{91EEDD06-C1A4-414C-A964-FE3044749A60}" dt="2022-07-26T18:19:41.485" v="226" actId="478"/>
          <ac:spMkLst>
            <pc:docMk/>
            <pc:sldMk cId="1430373668" sldId="2565"/>
            <ac:spMk id="417" creationId="{17539BDE-DA59-3744-8835-18B03144E7E7}"/>
          </ac:spMkLst>
        </pc:spChg>
        <pc:cxnChg chg="add del">
          <ac:chgData name="JOSE ANTONIO ORDOÑEZ LUCENA" userId="ec8dd69b-01fe-4d41-a294-c2927b548e27" providerId="ADAL" clId="{91EEDD06-C1A4-414C-A964-FE3044749A60}" dt="2022-07-26T18:18:51.566" v="207" actId="478"/>
          <ac:cxnSpMkLst>
            <pc:docMk/>
            <pc:sldMk cId="1430373668" sldId="2565"/>
            <ac:cxnSpMk id="3" creationId="{DD8F8FCA-5EEF-7A22-7F73-E3844EE210F4}"/>
          </ac:cxnSpMkLst>
        </pc:cxnChg>
      </pc:sldChg>
      <pc:sldChg chg="del">
        <pc:chgData name="JOSE ANTONIO ORDOÑEZ LUCENA" userId="ec8dd69b-01fe-4d41-a294-c2927b548e27" providerId="ADAL" clId="{91EEDD06-C1A4-414C-A964-FE3044749A60}" dt="2022-07-27T07:36:15.401" v="21892" actId="2696"/>
        <pc:sldMkLst>
          <pc:docMk/>
          <pc:sldMk cId="1344522153" sldId="2566"/>
        </pc:sldMkLst>
      </pc:sldChg>
      <pc:sldChg chg="addSp delSp modSp mod">
        <pc:chgData name="JOSE ANTONIO ORDOÑEZ LUCENA" userId="ec8dd69b-01fe-4d41-a294-c2927b548e27" providerId="ADAL" clId="{91EEDD06-C1A4-414C-A964-FE3044749A60}" dt="2022-07-27T14:57:29.400" v="25614" actId="20577"/>
        <pc:sldMkLst>
          <pc:docMk/>
          <pc:sldMk cId="2698715721" sldId="2567"/>
        </pc:sldMkLst>
        <pc:spChg chg="mod">
          <ac:chgData name="JOSE ANTONIO ORDOÑEZ LUCENA" userId="ec8dd69b-01fe-4d41-a294-c2927b548e27" providerId="ADAL" clId="{91EEDD06-C1A4-414C-A964-FE3044749A60}" dt="2022-07-26T18:29:05.532" v="1541" actId="403"/>
          <ac:spMkLst>
            <pc:docMk/>
            <pc:sldMk cId="2698715721" sldId="2567"/>
            <ac:spMk id="2" creationId="{2B73D7CB-E55B-ED4D-A567-274B625D4CEF}"/>
          </ac:spMkLst>
        </pc:spChg>
        <pc:spChg chg="add del mod">
          <ac:chgData name="JOSE ANTONIO ORDOÑEZ LUCENA" userId="ec8dd69b-01fe-4d41-a294-c2927b548e27" providerId="ADAL" clId="{91EEDD06-C1A4-414C-A964-FE3044749A60}" dt="2022-07-26T18:24:35.688" v="896" actId="478"/>
          <ac:spMkLst>
            <pc:docMk/>
            <pc:sldMk cId="2698715721" sldId="2567"/>
            <ac:spMk id="6" creationId="{F573C3C9-8C1B-9F94-B644-44A6DA83BE9D}"/>
          </ac:spMkLst>
        </pc:spChg>
        <pc:spChg chg="add del mod">
          <ac:chgData name="JOSE ANTONIO ORDOÑEZ LUCENA" userId="ec8dd69b-01fe-4d41-a294-c2927b548e27" providerId="ADAL" clId="{91EEDD06-C1A4-414C-A964-FE3044749A60}" dt="2022-07-26T18:24:37.926" v="898" actId="478"/>
          <ac:spMkLst>
            <pc:docMk/>
            <pc:sldMk cId="2698715721" sldId="2567"/>
            <ac:spMk id="8" creationId="{07D29A68-7961-D1A8-7303-18295A95DF7E}"/>
          </ac:spMkLst>
        </pc:spChg>
        <pc:spChg chg="add del mod">
          <ac:chgData name="JOSE ANTONIO ORDOÑEZ LUCENA" userId="ec8dd69b-01fe-4d41-a294-c2927b548e27" providerId="ADAL" clId="{91EEDD06-C1A4-414C-A964-FE3044749A60}" dt="2022-07-27T14:57:29.400" v="25614" actId="20577"/>
          <ac:spMkLst>
            <pc:docMk/>
            <pc:sldMk cId="2698715721" sldId="2567"/>
            <ac:spMk id="9" creationId="{E312B357-7C95-BC01-1B98-974A1321AE87}"/>
          </ac:spMkLst>
        </pc:spChg>
        <pc:spChg chg="add del mod">
          <ac:chgData name="JOSE ANTONIO ORDOÑEZ LUCENA" userId="ec8dd69b-01fe-4d41-a294-c2927b548e27" providerId="ADAL" clId="{91EEDD06-C1A4-414C-A964-FE3044749A60}" dt="2022-07-26T18:37:43.166" v="2039" actId="478"/>
          <ac:spMkLst>
            <pc:docMk/>
            <pc:sldMk cId="2698715721" sldId="2567"/>
            <ac:spMk id="10" creationId="{C3428828-71C1-C13F-FB39-8F296D3B2065}"/>
          </ac:spMkLst>
        </pc:spChg>
        <pc:spChg chg="add del mod">
          <ac:chgData name="JOSE ANTONIO ORDOÑEZ LUCENA" userId="ec8dd69b-01fe-4d41-a294-c2927b548e27" providerId="ADAL" clId="{91EEDD06-C1A4-414C-A964-FE3044749A60}" dt="2022-07-26T18:24:41.671" v="900" actId="478"/>
          <ac:spMkLst>
            <pc:docMk/>
            <pc:sldMk cId="2698715721" sldId="2567"/>
            <ac:spMk id="15" creationId="{035CC992-CC89-65C2-C048-5618AC99F1FD}"/>
          </ac:spMkLst>
        </pc:spChg>
        <pc:spChg chg="del mod">
          <ac:chgData name="JOSE ANTONIO ORDOÑEZ LUCENA" userId="ec8dd69b-01fe-4d41-a294-c2927b548e27" providerId="ADAL" clId="{91EEDD06-C1A4-414C-A964-FE3044749A60}" dt="2022-07-26T18:20:28.325" v="272" actId="478"/>
          <ac:spMkLst>
            <pc:docMk/>
            <pc:sldMk cId="2698715721" sldId="2567"/>
            <ac:spMk id="16" creationId="{9998B78B-F2A0-4157-CE0F-A48670CAFD34}"/>
          </ac:spMkLst>
        </pc:spChg>
      </pc:sldChg>
      <pc:sldChg chg="addSp delSp modSp mod addCm modCm">
        <pc:chgData name="JOSE ANTONIO ORDOÑEZ LUCENA" userId="ec8dd69b-01fe-4d41-a294-c2927b548e27" providerId="ADAL" clId="{91EEDD06-C1A4-414C-A964-FE3044749A60}" dt="2022-07-27T15:53:29.249" v="25663"/>
        <pc:sldMkLst>
          <pc:docMk/>
          <pc:sldMk cId="701653254" sldId="2568"/>
        </pc:sldMkLst>
        <pc:spChg chg="mod">
          <ac:chgData name="JOSE ANTONIO ORDOÑEZ LUCENA" userId="ec8dd69b-01fe-4d41-a294-c2927b548e27" providerId="ADAL" clId="{91EEDD06-C1A4-414C-A964-FE3044749A60}" dt="2022-07-26T19:39:16.390" v="5996" actId="20577"/>
          <ac:spMkLst>
            <pc:docMk/>
            <pc:sldMk cId="701653254" sldId="2568"/>
            <ac:spMk id="2" creationId="{2B73D7CB-E55B-ED4D-A567-274B625D4CEF}"/>
          </ac:spMkLst>
        </pc:spChg>
        <pc:spChg chg="add del mod">
          <ac:chgData name="JOSE ANTONIO ORDOÑEZ LUCENA" userId="ec8dd69b-01fe-4d41-a294-c2927b548e27" providerId="ADAL" clId="{91EEDD06-C1A4-414C-A964-FE3044749A60}" dt="2022-07-27T07:06:12.449" v="19228" actId="478"/>
          <ac:spMkLst>
            <pc:docMk/>
            <pc:sldMk cId="701653254" sldId="2568"/>
            <ac:spMk id="3" creationId="{0C007C4B-8C65-844F-F4F7-D564808C65C9}"/>
          </ac:spMkLst>
        </pc:spChg>
        <pc:spChg chg="add del mod">
          <ac:chgData name="JOSE ANTONIO ORDOÑEZ LUCENA" userId="ec8dd69b-01fe-4d41-a294-c2927b548e27" providerId="ADAL" clId="{91EEDD06-C1A4-414C-A964-FE3044749A60}" dt="2022-07-27T07:06:10.998" v="19227" actId="22"/>
          <ac:spMkLst>
            <pc:docMk/>
            <pc:sldMk cId="701653254" sldId="2568"/>
            <ac:spMk id="7" creationId="{187360F3-7EA8-E8A8-0AA1-06B08B2ABE55}"/>
          </ac:spMkLst>
        </pc:spChg>
        <pc:spChg chg="add del mod">
          <ac:chgData name="JOSE ANTONIO ORDOÑEZ LUCENA" userId="ec8dd69b-01fe-4d41-a294-c2927b548e27" providerId="ADAL" clId="{91EEDD06-C1A4-414C-A964-FE3044749A60}" dt="2022-07-26T18:55:20.240" v="3139" actId="478"/>
          <ac:spMkLst>
            <pc:docMk/>
            <pc:sldMk cId="701653254" sldId="2568"/>
            <ac:spMk id="7" creationId="{6E29DB78-9DB9-0D41-81FC-38A8BB5A8935}"/>
          </ac:spMkLst>
        </pc:spChg>
        <pc:spChg chg="add del mod">
          <ac:chgData name="JOSE ANTONIO ORDOÑEZ LUCENA" userId="ec8dd69b-01fe-4d41-a294-c2927b548e27" providerId="ADAL" clId="{91EEDD06-C1A4-414C-A964-FE3044749A60}" dt="2022-07-26T18:56:35.282" v="3143" actId="478"/>
          <ac:spMkLst>
            <pc:docMk/>
            <pc:sldMk cId="701653254" sldId="2568"/>
            <ac:spMk id="8" creationId="{73D65E0A-9E0D-C8D8-D396-68A0B915A07A}"/>
          </ac:spMkLst>
        </pc:spChg>
        <pc:spChg chg="del mod">
          <ac:chgData name="JOSE ANTONIO ORDOÑEZ LUCENA" userId="ec8dd69b-01fe-4d41-a294-c2927b548e27" providerId="ADAL" clId="{91EEDD06-C1A4-414C-A964-FE3044749A60}" dt="2022-07-26T18:46:54.524" v="3071" actId="478"/>
          <ac:spMkLst>
            <pc:docMk/>
            <pc:sldMk cId="701653254" sldId="2568"/>
            <ac:spMk id="9" creationId="{E312B357-7C95-BC01-1B98-974A1321AE87}"/>
          </ac:spMkLst>
        </pc:spChg>
        <pc:spChg chg="del mod">
          <ac:chgData name="JOSE ANTONIO ORDOÑEZ LUCENA" userId="ec8dd69b-01fe-4d41-a294-c2927b548e27" providerId="ADAL" clId="{91EEDD06-C1A4-414C-A964-FE3044749A60}" dt="2022-07-26T18:55:22.723" v="3140" actId="478"/>
          <ac:spMkLst>
            <pc:docMk/>
            <pc:sldMk cId="701653254" sldId="2568"/>
            <ac:spMk id="11" creationId="{672F0C9E-606F-8753-CE41-6B11E216ED82}"/>
          </ac:spMkLst>
        </pc:spChg>
        <pc:spChg chg="add del mod">
          <ac:chgData name="JOSE ANTONIO ORDOÑEZ LUCENA" userId="ec8dd69b-01fe-4d41-a294-c2927b548e27" providerId="ADAL" clId="{91EEDD06-C1A4-414C-A964-FE3044749A60}" dt="2022-07-26T18:56:35.282" v="3143" actId="478"/>
          <ac:spMkLst>
            <pc:docMk/>
            <pc:sldMk cId="701653254" sldId="2568"/>
            <ac:spMk id="12" creationId="{CAD8EBDF-F859-D792-F4C2-31626F3E9428}"/>
          </ac:spMkLst>
        </pc:spChg>
        <pc:spChg chg="add del mod">
          <ac:chgData name="JOSE ANTONIO ORDOÑEZ LUCENA" userId="ec8dd69b-01fe-4d41-a294-c2927b548e27" providerId="ADAL" clId="{91EEDD06-C1A4-414C-A964-FE3044749A60}" dt="2022-07-26T18:56:35.282" v="3143" actId="478"/>
          <ac:spMkLst>
            <pc:docMk/>
            <pc:sldMk cId="701653254" sldId="2568"/>
            <ac:spMk id="13" creationId="{82370169-D95F-8D3A-C53C-5011FCAD4752}"/>
          </ac:spMkLst>
        </pc:spChg>
        <pc:spChg chg="add del mod">
          <ac:chgData name="JOSE ANTONIO ORDOÑEZ LUCENA" userId="ec8dd69b-01fe-4d41-a294-c2927b548e27" providerId="ADAL" clId="{91EEDD06-C1A4-414C-A964-FE3044749A60}" dt="2022-07-26T18:56:35.282" v="3143" actId="478"/>
          <ac:spMkLst>
            <pc:docMk/>
            <pc:sldMk cId="701653254" sldId="2568"/>
            <ac:spMk id="14" creationId="{CAD33F5F-530F-AE25-98A7-DCCCE7D36E3D}"/>
          </ac:spMkLst>
        </pc:spChg>
        <pc:spChg chg="add del mod">
          <ac:chgData name="JOSE ANTONIO ORDOÑEZ LUCENA" userId="ec8dd69b-01fe-4d41-a294-c2927b548e27" providerId="ADAL" clId="{91EEDD06-C1A4-414C-A964-FE3044749A60}" dt="2022-07-26T18:56:35.282" v="3143" actId="478"/>
          <ac:spMkLst>
            <pc:docMk/>
            <pc:sldMk cId="701653254" sldId="2568"/>
            <ac:spMk id="15" creationId="{D623272E-CF28-30D3-B51C-43E4BC9D99F2}"/>
          </ac:spMkLst>
        </pc:spChg>
        <pc:spChg chg="add del mod">
          <ac:chgData name="JOSE ANTONIO ORDOÑEZ LUCENA" userId="ec8dd69b-01fe-4d41-a294-c2927b548e27" providerId="ADAL" clId="{91EEDD06-C1A4-414C-A964-FE3044749A60}" dt="2022-07-26T18:56:35.282" v="3143" actId="478"/>
          <ac:spMkLst>
            <pc:docMk/>
            <pc:sldMk cId="701653254" sldId="2568"/>
            <ac:spMk id="16" creationId="{D874AD94-7453-89E6-1084-170F8AAEFBBC}"/>
          </ac:spMkLst>
        </pc:spChg>
        <pc:spChg chg="add del mod">
          <ac:chgData name="JOSE ANTONIO ORDOÑEZ LUCENA" userId="ec8dd69b-01fe-4d41-a294-c2927b548e27" providerId="ADAL" clId="{91EEDD06-C1A4-414C-A964-FE3044749A60}" dt="2022-07-26T18:56:35.282" v="3143" actId="478"/>
          <ac:spMkLst>
            <pc:docMk/>
            <pc:sldMk cId="701653254" sldId="2568"/>
            <ac:spMk id="17" creationId="{424E22D3-5984-D8C9-4D23-7B039A8BAF80}"/>
          </ac:spMkLst>
        </pc:spChg>
        <pc:spChg chg="add del mod">
          <ac:chgData name="JOSE ANTONIO ORDOÑEZ LUCENA" userId="ec8dd69b-01fe-4d41-a294-c2927b548e27" providerId="ADAL" clId="{91EEDD06-C1A4-414C-A964-FE3044749A60}" dt="2022-07-26T18:56:35.282" v="3143" actId="478"/>
          <ac:spMkLst>
            <pc:docMk/>
            <pc:sldMk cId="701653254" sldId="2568"/>
            <ac:spMk id="18" creationId="{9D527160-4328-73DA-5B61-73596CAB415D}"/>
          </ac:spMkLst>
        </pc:spChg>
        <pc:spChg chg="add del mod">
          <ac:chgData name="JOSE ANTONIO ORDOÑEZ LUCENA" userId="ec8dd69b-01fe-4d41-a294-c2927b548e27" providerId="ADAL" clId="{91EEDD06-C1A4-414C-A964-FE3044749A60}" dt="2022-07-26T18:56:35.282" v="3143" actId="478"/>
          <ac:spMkLst>
            <pc:docMk/>
            <pc:sldMk cId="701653254" sldId="2568"/>
            <ac:spMk id="19" creationId="{D5D38004-4E1C-FFB2-08FE-D7CC4FF8E17B}"/>
          </ac:spMkLst>
        </pc:spChg>
        <pc:spChg chg="add del mod">
          <ac:chgData name="JOSE ANTONIO ORDOÑEZ LUCENA" userId="ec8dd69b-01fe-4d41-a294-c2927b548e27" providerId="ADAL" clId="{91EEDD06-C1A4-414C-A964-FE3044749A60}" dt="2022-07-26T18:56:35.282" v="3143" actId="478"/>
          <ac:spMkLst>
            <pc:docMk/>
            <pc:sldMk cId="701653254" sldId="2568"/>
            <ac:spMk id="20" creationId="{F246B7EF-87A3-E0FE-C5A7-5BD7CD875D02}"/>
          </ac:spMkLst>
        </pc:spChg>
        <pc:spChg chg="add del mod">
          <ac:chgData name="JOSE ANTONIO ORDOÑEZ LUCENA" userId="ec8dd69b-01fe-4d41-a294-c2927b548e27" providerId="ADAL" clId="{91EEDD06-C1A4-414C-A964-FE3044749A60}" dt="2022-07-26T18:56:35.282" v="3143" actId="478"/>
          <ac:spMkLst>
            <pc:docMk/>
            <pc:sldMk cId="701653254" sldId="2568"/>
            <ac:spMk id="21" creationId="{92E9A6B4-9862-FBB9-C40D-1B5A4AD30D3A}"/>
          </ac:spMkLst>
        </pc:spChg>
        <pc:spChg chg="add del mod">
          <ac:chgData name="JOSE ANTONIO ORDOÑEZ LUCENA" userId="ec8dd69b-01fe-4d41-a294-c2927b548e27" providerId="ADAL" clId="{91EEDD06-C1A4-414C-A964-FE3044749A60}" dt="2022-07-26T18:56:35.282" v="3143" actId="478"/>
          <ac:spMkLst>
            <pc:docMk/>
            <pc:sldMk cId="701653254" sldId="2568"/>
            <ac:spMk id="22" creationId="{5B0492D5-EA81-70C8-536C-5B8039C094DD}"/>
          </ac:spMkLst>
        </pc:spChg>
        <pc:spChg chg="add del mod">
          <ac:chgData name="JOSE ANTONIO ORDOÑEZ LUCENA" userId="ec8dd69b-01fe-4d41-a294-c2927b548e27" providerId="ADAL" clId="{91EEDD06-C1A4-414C-A964-FE3044749A60}" dt="2022-07-26T18:56:35.282" v="3143" actId="478"/>
          <ac:spMkLst>
            <pc:docMk/>
            <pc:sldMk cId="701653254" sldId="2568"/>
            <ac:spMk id="23" creationId="{8DA6FA11-C9EC-10E2-7C1F-8CF534A70E9C}"/>
          </ac:spMkLst>
        </pc:spChg>
        <pc:spChg chg="add del mod">
          <ac:chgData name="JOSE ANTONIO ORDOÑEZ LUCENA" userId="ec8dd69b-01fe-4d41-a294-c2927b548e27" providerId="ADAL" clId="{91EEDD06-C1A4-414C-A964-FE3044749A60}" dt="2022-07-26T18:56:35.282" v="3143" actId="478"/>
          <ac:spMkLst>
            <pc:docMk/>
            <pc:sldMk cId="701653254" sldId="2568"/>
            <ac:spMk id="24" creationId="{3F8ABC4A-0DA2-F387-5D6C-C89FAD46FB32}"/>
          </ac:spMkLst>
        </pc:spChg>
        <pc:spChg chg="add del mod">
          <ac:chgData name="JOSE ANTONIO ORDOÑEZ LUCENA" userId="ec8dd69b-01fe-4d41-a294-c2927b548e27" providerId="ADAL" clId="{91EEDD06-C1A4-414C-A964-FE3044749A60}" dt="2022-07-26T18:56:35.282" v="3143" actId="478"/>
          <ac:spMkLst>
            <pc:docMk/>
            <pc:sldMk cId="701653254" sldId="2568"/>
            <ac:spMk id="25" creationId="{B31F3DA4-61EF-E2D6-C2C7-4623C5802C0B}"/>
          </ac:spMkLst>
        </pc:spChg>
        <pc:spChg chg="add del mod">
          <ac:chgData name="JOSE ANTONIO ORDOÑEZ LUCENA" userId="ec8dd69b-01fe-4d41-a294-c2927b548e27" providerId="ADAL" clId="{91EEDD06-C1A4-414C-A964-FE3044749A60}" dt="2022-07-26T18:56:35.282" v="3143" actId="478"/>
          <ac:spMkLst>
            <pc:docMk/>
            <pc:sldMk cId="701653254" sldId="2568"/>
            <ac:spMk id="26" creationId="{1B6CE3E7-6135-449E-A1EC-7FFA1F0E68B8}"/>
          </ac:spMkLst>
        </pc:spChg>
        <pc:spChg chg="add del mod">
          <ac:chgData name="JOSE ANTONIO ORDOÑEZ LUCENA" userId="ec8dd69b-01fe-4d41-a294-c2927b548e27" providerId="ADAL" clId="{91EEDD06-C1A4-414C-A964-FE3044749A60}" dt="2022-07-26T18:56:35.282" v="3143" actId="478"/>
          <ac:spMkLst>
            <pc:docMk/>
            <pc:sldMk cId="701653254" sldId="2568"/>
            <ac:spMk id="29" creationId="{39424DB8-F3A7-BA20-76B7-D612E6B26B0C}"/>
          </ac:spMkLst>
        </pc:spChg>
        <pc:spChg chg="add del mod">
          <ac:chgData name="JOSE ANTONIO ORDOÑEZ LUCENA" userId="ec8dd69b-01fe-4d41-a294-c2927b548e27" providerId="ADAL" clId="{91EEDD06-C1A4-414C-A964-FE3044749A60}" dt="2022-07-26T18:56:35.282" v="3143" actId="478"/>
          <ac:spMkLst>
            <pc:docMk/>
            <pc:sldMk cId="701653254" sldId="2568"/>
            <ac:spMk id="33" creationId="{459BA378-E33D-9CA7-9C79-FF957FE58CDD}"/>
          </ac:spMkLst>
        </pc:spChg>
        <pc:spChg chg="add del mod">
          <ac:chgData name="JOSE ANTONIO ORDOÑEZ LUCENA" userId="ec8dd69b-01fe-4d41-a294-c2927b548e27" providerId="ADAL" clId="{91EEDD06-C1A4-414C-A964-FE3044749A60}" dt="2022-07-26T18:56:35.282" v="3143" actId="478"/>
          <ac:spMkLst>
            <pc:docMk/>
            <pc:sldMk cId="701653254" sldId="2568"/>
            <ac:spMk id="34" creationId="{6127BD3E-55FB-D305-BF58-6F301269AAEC}"/>
          </ac:spMkLst>
        </pc:spChg>
        <pc:spChg chg="add del mod">
          <ac:chgData name="JOSE ANTONIO ORDOÑEZ LUCENA" userId="ec8dd69b-01fe-4d41-a294-c2927b548e27" providerId="ADAL" clId="{91EEDD06-C1A4-414C-A964-FE3044749A60}" dt="2022-07-26T18:56:35.282" v="3143" actId="478"/>
          <ac:spMkLst>
            <pc:docMk/>
            <pc:sldMk cId="701653254" sldId="2568"/>
            <ac:spMk id="35" creationId="{34D9A0C4-B5F7-9F70-C2D9-C10724AB26C7}"/>
          </ac:spMkLst>
        </pc:spChg>
        <pc:spChg chg="add del mod">
          <ac:chgData name="JOSE ANTONIO ORDOÑEZ LUCENA" userId="ec8dd69b-01fe-4d41-a294-c2927b548e27" providerId="ADAL" clId="{91EEDD06-C1A4-414C-A964-FE3044749A60}" dt="2022-07-26T18:56:35.282" v="3143" actId="478"/>
          <ac:spMkLst>
            <pc:docMk/>
            <pc:sldMk cId="701653254" sldId="2568"/>
            <ac:spMk id="36" creationId="{60F394AA-FCDE-7EF4-AC8D-B0BB4DB28706}"/>
          </ac:spMkLst>
        </pc:spChg>
        <pc:spChg chg="add del mod">
          <ac:chgData name="JOSE ANTONIO ORDOÑEZ LUCENA" userId="ec8dd69b-01fe-4d41-a294-c2927b548e27" providerId="ADAL" clId="{91EEDD06-C1A4-414C-A964-FE3044749A60}" dt="2022-07-26T18:56:40.086" v="3145"/>
          <ac:spMkLst>
            <pc:docMk/>
            <pc:sldMk cId="701653254" sldId="2568"/>
            <ac:spMk id="39" creationId="{C69F8DD4-27E0-6B0E-1C6F-181C16D10D6E}"/>
          </ac:spMkLst>
        </pc:spChg>
        <pc:spChg chg="add del mod">
          <ac:chgData name="JOSE ANTONIO ORDOÑEZ LUCENA" userId="ec8dd69b-01fe-4d41-a294-c2927b548e27" providerId="ADAL" clId="{91EEDD06-C1A4-414C-A964-FE3044749A60}" dt="2022-07-26T18:56:40.086" v="3145"/>
          <ac:spMkLst>
            <pc:docMk/>
            <pc:sldMk cId="701653254" sldId="2568"/>
            <ac:spMk id="40" creationId="{D3C3C136-7BB5-5C31-6059-8EF87732AAE3}"/>
          </ac:spMkLst>
        </pc:spChg>
        <pc:spChg chg="add del mod">
          <ac:chgData name="JOSE ANTONIO ORDOÑEZ LUCENA" userId="ec8dd69b-01fe-4d41-a294-c2927b548e27" providerId="ADAL" clId="{91EEDD06-C1A4-414C-A964-FE3044749A60}" dt="2022-07-26T18:56:40.086" v="3145"/>
          <ac:spMkLst>
            <pc:docMk/>
            <pc:sldMk cId="701653254" sldId="2568"/>
            <ac:spMk id="41" creationId="{359BA6A7-B356-75C8-A389-FCAB92D787E6}"/>
          </ac:spMkLst>
        </pc:spChg>
        <pc:spChg chg="add del mod">
          <ac:chgData name="JOSE ANTONIO ORDOÑEZ LUCENA" userId="ec8dd69b-01fe-4d41-a294-c2927b548e27" providerId="ADAL" clId="{91EEDD06-C1A4-414C-A964-FE3044749A60}" dt="2022-07-26T18:56:40.086" v="3145"/>
          <ac:spMkLst>
            <pc:docMk/>
            <pc:sldMk cId="701653254" sldId="2568"/>
            <ac:spMk id="42" creationId="{B1B328B6-5504-9DE6-C594-77ECC7E049FE}"/>
          </ac:spMkLst>
        </pc:spChg>
        <pc:spChg chg="add del mod">
          <ac:chgData name="JOSE ANTONIO ORDOÑEZ LUCENA" userId="ec8dd69b-01fe-4d41-a294-c2927b548e27" providerId="ADAL" clId="{91EEDD06-C1A4-414C-A964-FE3044749A60}" dt="2022-07-26T18:56:40.086" v="3145"/>
          <ac:spMkLst>
            <pc:docMk/>
            <pc:sldMk cId="701653254" sldId="2568"/>
            <ac:spMk id="43" creationId="{529D5FA5-F051-2370-823D-28C41F5FB693}"/>
          </ac:spMkLst>
        </pc:spChg>
        <pc:spChg chg="add del mod">
          <ac:chgData name="JOSE ANTONIO ORDOÑEZ LUCENA" userId="ec8dd69b-01fe-4d41-a294-c2927b548e27" providerId="ADAL" clId="{91EEDD06-C1A4-414C-A964-FE3044749A60}" dt="2022-07-26T18:56:40.086" v="3145"/>
          <ac:spMkLst>
            <pc:docMk/>
            <pc:sldMk cId="701653254" sldId="2568"/>
            <ac:spMk id="44" creationId="{FADD8085-18DA-8DC1-0386-01D5526B5A04}"/>
          </ac:spMkLst>
        </pc:spChg>
        <pc:spChg chg="add del mod">
          <ac:chgData name="JOSE ANTONIO ORDOÑEZ LUCENA" userId="ec8dd69b-01fe-4d41-a294-c2927b548e27" providerId="ADAL" clId="{91EEDD06-C1A4-414C-A964-FE3044749A60}" dt="2022-07-26T18:56:40.086" v="3145"/>
          <ac:spMkLst>
            <pc:docMk/>
            <pc:sldMk cId="701653254" sldId="2568"/>
            <ac:spMk id="45" creationId="{EF39F7A6-72BF-71EE-0036-0114B975EAFC}"/>
          </ac:spMkLst>
        </pc:spChg>
        <pc:spChg chg="add del mod">
          <ac:chgData name="JOSE ANTONIO ORDOÑEZ LUCENA" userId="ec8dd69b-01fe-4d41-a294-c2927b548e27" providerId="ADAL" clId="{91EEDD06-C1A4-414C-A964-FE3044749A60}" dt="2022-07-26T18:56:40.086" v="3145"/>
          <ac:spMkLst>
            <pc:docMk/>
            <pc:sldMk cId="701653254" sldId="2568"/>
            <ac:spMk id="46" creationId="{F09FB126-9B10-85B8-CC5F-79BB468997EB}"/>
          </ac:spMkLst>
        </pc:spChg>
        <pc:spChg chg="add del mod">
          <ac:chgData name="JOSE ANTONIO ORDOÑEZ LUCENA" userId="ec8dd69b-01fe-4d41-a294-c2927b548e27" providerId="ADAL" clId="{91EEDD06-C1A4-414C-A964-FE3044749A60}" dt="2022-07-26T18:56:40.086" v="3145"/>
          <ac:spMkLst>
            <pc:docMk/>
            <pc:sldMk cId="701653254" sldId="2568"/>
            <ac:spMk id="47" creationId="{9002BB56-F6DB-5A52-78D4-F4146791379F}"/>
          </ac:spMkLst>
        </pc:spChg>
        <pc:spChg chg="add del mod">
          <ac:chgData name="JOSE ANTONIO ORDOÑEZ LUCENA" userId="ec8dd69b-01fe-4d41-a294-c2927b548e27" providerId="ADAL" clId="{91EEDD06-C1A4-414C-A964-FE3044749A60}" dt="2022-07-26T18:56:40.086" v="3145"/>
          <ac:spMkLst>
            <pc:docMk/>
            <pc:sldMk cId="701653254" sldId="2568"/>
            <ac:spMk id="48" creationId="{21AC0DE3-BF38-1A51-EB4A-83CDC643F6F8}"/>
          </ac:spMkLst>
        </pc:spChg>
        <pc:spChg chg="add del mod">
          <ac:chgData name="JOSE ANTONIO ORDOÑEZ LUCENA" userId="ec8dd69b-01fe-4d41-a294-c2927b548e27" providerId="ADAL" clId="{91EEDD06-C1A4-414C-A964-FE3044749A60}" dt="2022-07-26T18:56:40.086" v="3145"/>
          <ac:spMkLst>
            <pc:docMk/>
            <pc:sldMk cId="701653254" sldId="2568"/>
            <ac:spMk id="49" creationId="{36842E29-70CC-92FB-52C6-B88C87E55C02}"/>
          </ac:spMkLst>
        </pc:spChg>
        <pc:spChg chg="add del mod">
          <ac:chgData name="JOSE ANTONIO ORDOÑEZ LUCENA" userId="ec8dd69b-01fe-4d41-a294-c2927b548e27" providerId="ADAL" clId="{91EEDD06-C1A4-414C-A964-FE3044749A60}" dt="2022-07-26T18:56:40.086" v="3145"/>
          <ac:spMkLst>
            <pc:docMk/>
            <pc:sldMk cId="701653254" sldId="2568"/>
            <ac:spMk id="50" creationId="{D31A4C7A-BF99-A256-D25A-1374974248BA}"/>
          </ac:spMkLst>
        </pc:spChg>
        <pc:spChg chg="add del mod">
          <ac:chgData name="JOSE ANTONIO ORDOÑEZ LUCENA" userId="ec8dd69b-01fe-4d41-a294-c2927b548e27" providerId="ADAL" clId="{91EEDD06-C1A4-414C-A964-FE3044749A60}" dt="2022-07-26T18:56:40.086" v="3145"/>
          <ac:spMkLst>
            <pc:docMk/>
            <pc:sldMk cId="701653254" sldId="2568"/>
            <ac:spMk id="51" creationId="{D1D3C7AF-874B-7142-90D6-0A853AE3D85D}"/>
          </ac:spMkLst>
        </pc:spChg>
        <pc:spChg chg="add del mod">
          <ac:chgData name="JOSE ANTONIO ORDOÑEZ LUCENA" userId="ec8dd69b-01fe-4d41-a294-c2927b548e27" providerId="ADAL" clId="{91EEDD06-C1A4-414C-A964-FE3044749A60}" dt="2022-07-26T18:56:40.086" v="3145"/>
          <ac:spMkLst>
            <pc:docMk/>
            <pc:sldMk cId="701653254" sldId="2568"/>
            <ac:spMk id="52" creationId="{C523107A-11A1-5BF5-D398-B1A15CC26AE6}"/>
          </ac:spMkLst>
        </pc:spChg>
        <pc:spChg chg="add del mod">
          <ac:chgData name="JOSE ANTONIO ORDOÑEZ LUCENA" userId="ec8dd69b-01fe-4d41-a294-c2927b548e27" providerId="ADAL" clId="{91EEDD06-C1A4-414C-A964-FE3044749A60}" dt="2022-07-26T18:56:40.086" v="3145"/>
          <ac:spMkLst>
            <pc:docMk/>
            <pc:sldMk cId="701653254" sldId="2568"/>
            <ac:spMk id="53" creationId="{157F0B2E-46BA-9BAA-BDE7-D7B4A049263B}"/>
          </ac:spMkLst>
        </pc:spChg>
        <pc:spChg chg="add del mod">
          <ac:chgData name="JOSE ANTONIO ORDOÑEZ LUCENA" userId="ec8dd69b-01fe-4d41-a294-c2927b548e27" providerId="ADAL" clId="{91EEDD06-C1A4-414C-A964-FE3044749A60}" dt="2022-07-26T18:56:40.086" v="3145"/>
          <ac:spMkLst>
            <pc:docMk/>
            <pc:sldMk cId="701653254" sldId="2568"/>
            <ac:spMk id="54" creationId="{A8695DF5-B477-C81A-EE8A-4BB2E79F24C1}"/>
          </ac:spMkLst>
        </pc:spChg>
        <pc:spChg chg="add del mod">
          <ac:chgData name="JOSE ANTONIO ORDOÑEZ LUCENA" userId="ec8dd69b-01fe-4d41-a294-c2927b548e27" providerId="ADAL" clId="{91EEDD06-C1A4-414C-A964-FE3044749A60}" dt="2022-07-26T18:56:40.086" v="3145"/>
          <ac:spMkLst>
            <pc:docMk/>
            <pc:sldMk cId="701653254" sldId="2568"/>
            <ac:spMk id="57" creationId="{680E18D2-1397-6A7F-B1FD-E5407EBDB21C}"/>
          </ac:spMkLst>
        </pc:spChg>
        <pc:spChg chg="add del mod">
          <ac:chgData name="JOSE ANTONIO ORDOÑEZ LUCENA" userId="ec8dd69b-01fe-4d41-a294-c2927b548e27" providerId="ADAL" clId="{91EEDD06-C1A4-414C-A964-FE3044749A60}" dt="2022-07-26T18:56:40.086" v="3145"/>
          <ac:spMkLst>
            <pc:docMk/>
            <pc:sldMk cId="701653254" sldId="2568"/>
            <ac:spMk id="61" creationId="{22425614-97C3-FC02-0A09-5A280359144F}"/>
          </ac:spMkLst>
        </pc:spChg>
        <pc:spChg chg="add del mod">
          <ac:chgData name="JOSE ANTONIO ORDOÑEZ LUCENA" userId="ec8dd69b-01fe-4d41-a294-c2927b548e27" providerId="ADAL" clId="{91EEDD06-C1A4-414C-A964-FE3044749A60}" dt="2022-07-26T18:56:40.086" v="3145"/>
          <ac:spMkLst>
            <pc:docMk/>
            <pc:sldMk cId="701653254" sldId="2568"/>
            <ac:spMk id="62" creationId="{C26C19AD-EC61-53EB-17AD-6510871A3481}"/>
          </ac:spMkLst>
        </pc:spChg>
        <pc:spChg chg="add del mod">
          <ac:chgData name="JOSE ANTONIO ORDOÑEZ LUCENA" userId="ec8dd69b-01fe-4d41-a294-c2927b548e27" providerId="ADAL" clId="{91EEDD06-C1A4-414C-A964-FE3044749A60}" dt="2022-07-26T18:56:40.086" v="3145"/>
          <ac:spMkLst>
            <pc:docMk/>
            <pc:sldMk cId="701653254" sldId="2568"/>
            <ac:spMk id="63" creationId="{E18DEB0D-ABC2-6BD3-0C82-F0BBDCFAF057}"/>
          </ac:spMkLst>
        </pc:spChg>
        <pc:spChg chg="add del mod">
          <ac:chgData name="JOSE ANTONIO ORDOÑEZ LUCENA" userId="ec8dd69b-01fe-4d41-a294-c2927b548e27" providerId="ADAL" clId="{91EEDD06-C1A4-414C-A964-FE3044749A60}" dt="2022-07-26T18:56:40.086" v="3145"/>
          <ac:spMkLst>
            <pc:docMk/>
            <pc:sldMk cId="701653254" sldId="2568"/>
            <ac:spMk id="64" creationId="{B3B2EB04-68C3-8052-5428-A169F171FAB3}"/>
          </ac:spMkLst>
        </pc:spChg>
        <pc:spChg chg="add mod">
          <ac:chgData name="JOSE ANTONIO ORDOÑEZ LUCENA" userId="ec8dd69b-01fe-4d41-a294-c2927b548e27" providerId="ADAL" clId="{91EEDD06-C1A4-414C-A964-FE3044749A60}" dt="2022-07-26T19:03:17.542" v="3613" actId="1076"/>
          <ac:spMkLst>
            <pc:docMk/>
            <pc:sldMk cId="701653254" sldId="2568"/>
            <ac:spMk id="67" creationId="{386D4FF2-52B4-FC06-E8BF-7DFD650B0CED}"/>
          </ac:spMkLst>
        </pc:spChg>
        <pc:spChg chg="add mod">
          <ac:chgData name="JOSE ANTONIO ORDOÑEZ LUCENA" userId="ec8dd69b-01fe-4d41-a294-c2927b548e27" providerId="ADAL" clId="{91EEDD06-C1A4-414C-A964-FE3044749A60}" dt="2022-07-26T19:03:17.542" v="3613" actId="1076"/>
          <ac:spMkLst>
            <pc:docMk/>
            <pc:sldMk cId="701653254" sldId="2568"/>
            <ac:spMk id="68" creationId="{4AE6FE71-E188-1626-D2F9-37C720E4BBBF}"/>
          </ac:spMkLst>
        </pc:spChg>
        <pc:spChg chg="add mod">
          <ac:chgData name="JOSE ANTONIO ORDOÑEZ LUCENA" userId="ec8dd69b-01fe-4d41-a294-c2927b548e27" providerId="ADAL" clId="{91EEDD06-C1A4-414C-A964-FE3044749A60}" dt="2022-07-26T19:03:17.542" v="3613" actId="1076"/>
          <ac:spMkLst>
            <pc:docMk/>
            <pc:sldMk cId="701653254" sldId="2568"/>
            <ac:spMk id="69" creationId="{3C03EF52-DD1C-9319-26E8-C0CBE27AD039}"/>
          </ac:spMkLst>
        </pc:spChg>
        <pc:spChg chg="add mod">
          <ac:chgData name="JOSE ANTONIO ORDOÑEZ LUCENA" userId="ec8dd69b-01fe-4d41-a294-c2927b548e27" providerId="ADAL" clId="{91EEDD06-C1A4-414C-A964-FE3044749A60}" dt="2022-07-26T19:03:17.542" v="3613" actId="1076"/>
          <ac:spMkLst>
            <pc:docMk/>
            <pc:sldMk cId="701653254" sldId="2568"/>
            <ac:spMk id="70" creationId="{2F333E91-EC82-88CE-DE6F-8E1AF9E89B09}"/>
          </ac:spMkLst>
        </pc:spChg>
        <pc:spChg chg="add mod">
          <ac:chgData name="JOSE ANTONIO ORDOÑEZ LUCENA" userId="ec8dd69b-01fe-4d41-a294-c2927b548e27" providerId="ADAL" clId="{91EEDD06-C1A4-414C-A964-FE3044749A60}" dt="2022-07-26T19:03:17.542" v="3613" actId="1076"/>
          <ac:spMkLst>
            <pc:docMk/>
            <pc:sldMk cId="701653254" sldId="2568"/>
            <ac:spMk id="71" creationId="{07A9DD2D-C30E-5222-F699-A129D04B8A14}"/>
          </ac:spMkLst>
        </pc:spChg>
        <pc:spChg chg="add mod">
          <ac:chgData name="JOSE ANTONIO ORDOÑEZ LUCENA" userId="ec8dd69b-01fe-4d41-a294-c2927b548e27" providerId="ADAL" clId="{91EEDD06-C1A4-414C-A964-FE3044749A60}" dt="2022-07-26T19:03:17.542" v="3613" actId="1076"/>
          <ac:spMkLst>
            <pc:docMk/>
            <pc:sldMk cId="701653254" sldId="2568"/>
            <ac:spMk id="72" creationId="{4C342442-ED3E-5CDE-31C0-AD997DF91CA7}"/>
          </ac:spMkLst>
        </pc:spChg>
        <pc:spChg chg="add mod">
          <ac:chgData name="JOSE ANTONIO ORDOÑEZ LUCENA" userId="ec8dd69b-01fe-4d41-a294-c2927b548e27" providerId="ADAL" clId="{91EEDD06-C1A4-414C-A964-FE3044749A60}" dt="2022-07-26T19:03:17.542" v="3613" actId="1076"/>
          <ac:spMkLst>
            <pc:docMk/>
            <pc:sldMk cId="701653254" sldId="2568"/>
            <ac:spMk id="73" creationId="{CEC6FA5D-3C74-907F-EA7F-7662AC91A328}"/>
          </ac:spMkLst>
        </pc:spChg>
        <pc:spChg chg="add mod">
          <ac:chgData name="JOSE ANTONIO ORDOÑEZ LUCENA" userId="ec8dd69b-01fe-4d41-a294-c2927b548e27" providerId="ADAL" clId="{91EEDD06-C1A4-414C-A964-FE3044749A60}" dt="2022-07-26T19:03:17.542" v="3613" actId="1076"/>
          <ac:spMkLst>
            <pc:docMk/>
            <pc:sldMk cId="701653254" sldId="2568"/>
            <ac:spMk id="74" creationId="{E9CFA89E-878C-3237-BAA5-4375616D66C0}"/>
          </ac:spMkLst>
        </pc:spChg>
        <pc:spChg chg="add mod">
          <ac:chgData name="JOSE ANTONIO ORDOÑEZ LUCENA" userId="ec8dd69b-01fe-4d41-a294-c2927b548e27" providerId="ADAL" clId="{91EEDD06-C1A4-414C-A964-FE3044749A60}" dt="2022-07-26T19:03:17.542" v="3613" actId="1076"/>
          <ac:spMkLst>
            <pc:docMk/>
            <pc:sldMk cId="701653254" sldId="2568"/>
            <ac:spMk id="75" creationId="{F15F772E-6D2B-01F2-B5B8-E636076BB455}"/>
          </ac:spMkLst>
        </pc:spChg>
        <pc:spChg chg="add mod">
          <ac:chgData name="JOSE ANTONIO ORDOÑEZ LUCENA" userId="ec8dd69b-01fe-4d41-a294-c2927b548e27" providerId="ADAL" clId="{91EEDD06-C1A4-414C-A964-FE3044749A60}" dt="2022-07-26T19:03:17.542" v="3613" actId="1076"/>
          <ac:spMkLst>
            <pc:docMk/>
            <pc:sldMk cId="701653254" sldId="2568"/>
            <ac:spMk id="76" creationId="{416F4B77-9B11-1D66-318A-FA77F1905815}"/>
          </ac:spMkLst>
        </pc:spChg>
        <pc:spChg chg="add mod">
          <ac:chgData name="JOSE ANTONIO ORDOÑEZ LUCENA" userId="ec8dd69b-01fe-4d41-a294-c2927b548e27" providerId="ADAL" clId="{91EEDD06-C1A4-414C-A964-FE3044749A60}" dt="2022-07-26T19:03:17.542" v="3613" actId="1076"/>
          <ac:spMkLst>
            <pc:docMk/>
            <pc:sldMk cId="701653254" sldId="2568"/>
            <ac:spMk id="77" creationId="{320DC25A-72F2-AFDF-315E-86B745CCDD97}"/>
          </ac:spMkLst>
        </pc:spChg>
        <pc:spChg chg="add mod">
          <ac:chgData name="JOSE ANTONIO ORDOÑEZ LUCENA" userId="ec8dd69b-01fe-4d41-a294-c2927b548e27" providerId="ADAL" clId="{91EEDD06-C1A4-414C-A964-FE3044749A60}" dt="2022-07-27T15:52:25.430" v="25662" actId="20577"/>
          <ac:spMkLst>
            <pc:docMk/>
            <pc:sldMk cId="701653254" sldId="2568"/>
            <ac:spMk id="78" creationId="{6EBB80EB-5BE7-2C91-8FB0-00CAEB0663B4}"/>
          </ac:spMkLst>
        </pc:spChg>
        <pc:spChg chg="add mod">
          <ac:chgData name="JOSE ANTONIO ORDOÑEZ LUCENA" userId="ec8dd69b-01fe-4d41-a294-c2927b548e27" providerId="ADAL" clId="{91EEDD06-C1A4-414C-A964-FE3044749A60}" dt="2022-07-26T19:03:17.542" v="3613" actId="1076"/>
          <ac:spMkLst>
            <pc:docMk/>
            <pc:sldMk cId="701653254" sldId="2568"/>
            <ac:spMk id="79" creationId="{470E23AC-FFC3-F071-9E9B-B95EFBA5E220}"/>
          </ac:spMkLst>
        </pc:spChg>
        <pc:spChg chg="add mod">
          <ac:chgData name="JOSE ANTONIO ORDOÑEZ LUCENA" userId="ec8dd69b-01fe-4d41-a294-c2927b548e27" providerId="ADAL" clId="{91EEDD06-C1A4-414C-A964-FE3044749A60}" dt="2022-07-26T19:03:17.542" v="3613" actId="1076"/>
          <ac:spMkLst>
            <pc:docMk/>
            <pc:sldMk cId="701653254" sldId="2568"/>
            <ac:spMk id="80" creationId="{D9A07F7B-B47B-A9FD-F008-2DA95564B51A}"/>
          </ac:spMkLst>
        </pc:spChg>
        <pc:spChg chg="add mod">
          <ac:chgData name="JOSE ANTONIO ORDOÑEZ LUCENA" userId="ec8dd69b-01fe-4d41-a294-c2927b548e27" providerId="ADAL" clId="{91EEDD06-C1A4-414C-A964-FE3044749A60}" dt="2022-07-26T19:03:17.542" v="3613" actId="1076"/>
          <ac:spMkLst>
            <pc:docMk/>
            <pc:sldMk cId="701653254" sldId="2568"/>
            <ac:spMk id="81" creationId="{EBE30BBB-CF73-6BF4-05B6-A1E2E1606DC9}"/>
          </ac:spMkLst>
        </pc:spChg>
        <pc:spChg chg="add mod">
          <ac:chgData name="JOSE ANTONIO ORDOÑEZ LUCENA" userId="ec8dd69b-01fe-4d41-a294-c2927b548e27" providerId="ADAL" clId="{91EEDD06-C1A4-414C-A964-FE3044749A60}" dt="2022-07-26T19:03:17.542" v="3613" actId="1076"/>
          <ac:spMkLst>
            <pc:docMk/>
            <pc:sldMk cId="701653254" sldId="2568"/>
            <ac:spMk id="82" creationId="{9CFF4EFD-A8B2-C9E1-A310-17507131591E}"/>
          </ac:spMkLst>
        </pc:spChg>
        <pc:spChg chg="add mod">
          <ac:chgData name="JOSE ANTONIO ORDOÑEZ LUCENA" userId="ec8dd69b-01fe-4d41-a294-c2927b548e27" providerId="ADAL" clId="{91EEDD06-C1A4-414C-A964-FE3044749A60}" dt="2022-07-26T19:03:17.542" v="3613" actId="1076"/>
          <ac:spMkLst>
            <pc:docMk/>
            <pc:sldMk cId="701653254" sldId="2568"/>
            <ac:spMk id="85" creationId="{EA6645C3-6BDD-188B-E733-C813B051D891}"/>
          </ac:spMkLst>
        </pc:spChg>
        <pc:spChg chg="add mod">
          <ac:chgData name="JOSE ANTONIO ORDOÑEZ LUCENA" userId="ec8dd69b-01fe-4d41-a294-c2927b548e27" providerId="ADAL" clId="{91EEDD06-C1A4-414C-A964-FE3044749A60}" dt="2022-07-26T19:03:17.542" v="3613" actId="1076"/>
          <ac:spMkLst>
            <pc:docMk/>
            <pc:sldMk cId="701653254" sldId="2568"/>
            <ac:spMk id="89" creationId="{21D64189-A7B1-94EC-7F88-7E345781F835}"/>
          </ac:spMkLst>
        </pc:spChg>
        <pc:spChg chg="add mod">
          <ac:chgData name="JOSE ANTONIO ORDOÑEZ LUCENA" userId="ec8dd69b-01fe-4d41-a294-c2927b548e27" providerId="ADAL" clId="{91EEDD06-C1A4-414C-A964-FE3044749A60}" dt="2022-07-26T19:03:17.542" v="3613" actId="1076"/>
          <ac:spMkLst>
            <pc:docMk/>
            <pc:sldMk cId="701653254" sldId="2568"/>
            <ac:spMk id="90" creationId="{FC1D5038-EBF8-7AD4-2902-C5E8843DEF28}"/>
          </ac:spMkLst>
        </pc:spChg>
        <pc:spChg chg="add mod">
          <ac:chgData name="JOSE ANTONIO ORDOÑEZ LUCENA" userId="ec8dd69b-01fe-4d41-a294-c2927b548e27" providerId="ADAL" clId="{91EEDD06-C1A4-414C-A964-FE3044749A60}" dt="2022-07-26T19:03:17.542" v="3613" actId="1076"/>
          <ac:spMkLst>
            <pc:docMk/>
            <pc:sldMk cId="701653254" sldId="2568"/>
            <ac:spMk id="91" creationId="{824EE3DE-F9F2-4CCE-3BAE-ECF0743498D3}"/>
          </ac:spMkLst>
        </pc:spChg>
        <pc:spChg chg="add mod">
          <ac:chgData name="JOSE ANTONIO ORDOÑEZ LUCENA" userId="ec8dd69b-01fe-4d41-a294-c2927b548e27" providerId="ADAL" clId="{91EEDD06-C1A4-414C-A964-FE3044749A60}" dt="2022-07-26T19:03:17.542" v="3613" actId="1076"/>
          <ac:spMkLst>
            <pc:docMk/>
            <pc:sldMk cId="701653254" sldId="2568"/>
            <ac:spMk id="92" creationId="{CAD8791C-040A-40E0-3CC4-066C8512E203}"/>
          </ac:spMkLst>
        </pc:spChg>
        <pc:spChg chg="add mod">
          <ac:chgData name="JOSE ANTONIO ORDOÑEZ LUCENA" userId="ec8dd69b-01fe-4d41-a294-c2927b548e27" providerId="ADAL" clId="{91EEDD06-C1A4-414C-A964-FE3044749A60}" dt="2022-07-27T07:05:40.738" v="19199" actId="1076"/>
          <ac:spMkLst>
            <pc:docMk/>
            <pc:sldMk cId="701653254" sldId="2568"/>
            <ac:spMk id="107" creationId="{70F44485-E384-B3DE-22FE-E5FD9A3A28C6}"/>
          </ac:spMkLst>
        </pc:spChg>
        <pc:spChg chg="add mod">
          <ac:chgData name="JOSE ANTONIO ORDOÑEZ LUCENA" userId="ec8dd69b-01fe-4d41-a294-c2927b548e27" providerId="ADAL" clId="{91EEDD06-C1A4-414C-A964-FE3044749A60}" dt="2022-07-27T07:01:25.099" v="19112" actId="20577"/>
          <ac:spMkLst>
            <pc:docMk/>
            <pc:sldMk cId="701653254" sldId="2568"/>
            <ac:spMk id="108" creationId="{C2D892E3-A434-2D01-36CD-D0DA48910699}"/>
          </ac:spMkLst>
        </pc:spChg>
        <pc:spChg chg="add mod">
          <ac:chgData name="JOSE ANTONIO ORDOÑEZ LUCENA" userId="ec8dd69b-01fe-4d41-a294-c2927b548e27" providerId="ADAL" clId="{91EEDD06-C1A4-414C-A964-FE3044749A60}" dt="2022-07-26T19:15:35.362" v="4828" actId="1076"/>
          <ac:spMkLst>
            <pc:docMk/>
            <pc:sldMk cId="701653254" sldId="2568"/>
            <ac:spMk id="109" creationId="{7B44E863-C68B-2AD0-B0FC-218771E31EA8}"/>
          </ac:spMkLst>
        </pc:spChg>
        <pc:spChg chg="add del mod">
          <ac:chgData name="JOSE ANTONIO ORDOÑEZ LUCENA" userId="ec8dd69b-01fe-4d41-a294-c2927b548e27" providerId="ADAL" clId="{91EEDD06-C1A4-414C-A964-FE3044749A60}" dt="2022-07-26T19:04:12.513" v="3617" actId="478"/>
          <ac:spMkLst>
            <pc:docMk/>
            <pc:sldMk cId="701653254" sldId="2568"/>
            <ac:spMk id="110" creationId="{8CBD97E3-40B9-88B2-A099-320A50514FEE}"/>
          </ac:spMkLst>
        </pc:spChg>
        <pc:spChg chg="add del mod">
          <ac:chgData name="JOSE ANTONIO ORDOÑEZ LUCENA" userId="ec8dd69b-01fe-4d41-a294-c2927b548e27" providerId="ADAL" clId="{91EEDD06-C1A4-414C-A964-FE3044749A60}" dt="2022-07-26T19:04:17.736" v="3619" actId="478"/>
          <ac:spMkLst>
            <pc:docMk/>
            <pc:sldMk cId="701653254" sldId="2568"/>
            <ac:spMk id="111" creationId="{F78748CE-AB02-711C-5CCE-16821E4FBE0A}"/>
          </ac:spMkLst>
        </pc:spChg>
        <pc:spChg chg="add mod">
          <ac:chgData name="JOSE ANTONIO ORDOÑEZ LUCENA" userId="ec8dd69b-01fe-4d41-a294-c2927b548e27" providerId="ADAL" clId="{91EEDD06-C1A4-414C-A964-FE3044749A60}" dt="2022-07-27T07:01:29.423" v="19113" actId="20577"/>
          <ac:spMkLst>
            <pc:docMk/>
            <pc:sldMk cId="701653254" sldId="2568"/>
            <ac:spMk id="112" creationId="{05B425F6-A880-7FAC-F9B8-C296CFEF22CD}"/>
          </ac:spMkLst>
        </pc:spChg>
        <pc:spChg chg="add mod">
          <ac:chgData name="JOSE ANTONIO ORDOÑEZ LUCENA" userId="ec8dd69b-01fe-4d41-a294-c2927b548e27" providerId="ADAL" clId="{91EEDD06-C1A4-414C-A964-FE3044749A60}" dt="2022-07-27T15:37:45.380" v="25659" actId="20577"/>
          <ac:spMkLst>
            <pc:docMk/>
            <pc:sldMk cId="701653254" sldId="2568"/>
            <ac:spMk id="113" creationId="{695656D5-0008-9206-9DEE-FF8CA41EC999}"/>
          </ac:spMkLst>
        </pc:spChg>
        <pc:spChg chg="add mod">
          <ac:chgData name="JOSE ANTONIO ORDOÑEZ LUCENA" userId="ec8dd69b-01fe-4d41-a294-c2927b548e27" providerId="ADAL" clId="{91EEDD06-C1A4-414C-A964-FE3044749A60}" dt="2022-07-27T07:01:31.758" v="19114" actId="20577"/>
          <ac:spMkLst>
            <pc:docMk/>
            <pc:sldMk cId="701653254" sldId="2568"/>
            <ac:spMk id="114" creationId="{03449127-44F8-C57C-A8CC-F01990656F62}"/>
          </ac:spMkLst>
        </pc:spChg>
        <pc:spChg chg="add mod">
          <ac:chgData name="JOSE ANTONIO ORDOÑEZ LUCENA" userId="ec8dd69b-01fe-4d41-a294-c2927b548e27" providerId="ADAL" clId="{91EEDD06-C1A4-414C-A964-FE3044749A60}" dt="2022-07-26T19:24:12.370" v="5322" actId="14100"/>
          <ac:spMkLst>
            <pc:docMk/>
            <pc:sldMk cId="701653254" sldId="2568"/>
            <ac:spMk id="115" creationId="{02524EDA-8CA1-7FCA-28A8-BCF405016818}"/>
          </ac:spMkLst>
        </pc:spChg>
        <pc:spChg chg="add mod">
          <ac:chgData name="JOSE ANTONIO ORDOÑEZ LUCENA" userId="ec8dd69b-01fe-4d41-a294-c2927b548e27" providerId="ADAL" clId="{91EEDD06-C1A4-414C-A964-FE3044749A60}" dt="2022-07-26T19:21:09.698" v="5050" actId="1076"/>
          <ac:spMkLst>
            <pc:docMk/>
            <pc:sldMk cId="701653254" sldId="2568"/>
            <ac:spMk id="116" creationId="{7D47C7CF-3908-D13E-EEEF-6D37CA2617D4}"/>
          </ac:spMkLst>
        </pc:spChg>
        <pc:spChg chg="add mod">
          <ac:chgData name="JOSE ANTONIO ORDOÑEZ LUCENA" userId="ec8dd69b-01fe-4d41-a294-c2927b548e27" providerId="ADAL" clId="{91EEDD06-C1A4-414C-A964-FE3044749A60}" dt="2022-07-26T19:15:35.362" v="4828" actId="1076"/>
          <ac:spMkLst>
            <pc:docMk/>
            <pc:sldMk cId="701653254" sldId="2568"/>
            <ac:spMk id="117" creationId="{88E1F4CB-2249-F31F-0B27-D3623041D9A4}"/>
          </ac:spMkLst>
        </pc:spChg>
        <pc:spChg chg="add del mod">
          <ac:chgData name="JOSE ANTONIO ORDOÑEZ LUCENA" userId="ec8dd69b-01fe-4d41-a294-c2927b548e27" providerId="ADAL" clId="{91EEDD06-C1A4-414C-A964-FE3044749A60}" dt="2022-07-26T19:08:20.866" v="3834" actId="478"/>
          <ac:spMkLst>
            <pc:docMk/>
            <pc:sldMk cId="701653254" sldId="2568"/>
            <ac:spMk id="118" creationId="{61A2E7C4-075B-590D-48B6-BE59A559F420}"/>
          </ac:spMkLst>
        </pc:spChg>
        <pc:spChg chg="add mod">
          <ac:chgData name="JOSE ANTONIO ORDOÑEZ LUCENA" userId="ec8dd69b-01fe-4d41-a294-c2927b548e27" providerId="ADAL" clId="{91EEDD06-C1A4-414C-A964-FE3044749A60}" dt="2022-07-26T19:37:27.097" v="5845" actId="20577"/>
          <ac:spMkLst>
            <pc:docMk/>
            <pc:sldMk cId="701653254" sldId="2568"/>
            <ac:spMk id="119" creationId="{F125FBFE-8DAD-13CC-BB52-3B57D135C63C}"/>
          </ac:spMkLst>
        </pc:spChg>
        <pc:spChg chg="add mod">
          <ac:chgData name="JOSE ANTONIO ORDOÑEZ LUCENA" userId="ec8dd69b-01fe-4d41-a294-c2927b548e27" providerId="ADAL" clId="{91EEDD06-C1A4-414C-A964-FE3044749A60}" dt="2022-07-26T19:21:11.824" v="5051" actId="1076"/>
          <ac:spMkLst>
            <pc:docMk/>
            <pc:sldMk cId="701653254" sldId="2568"/>
            <ac:spMk id="120" creationId="{E0488320-4296-DD54-B01D-898CA0AA0379}"/>
          </ac:spMkLst>
        </pc:spChg>
        <pc:spChg chg="add del mod">
          <ac:chgData name="JOSE ANTONIO ORDOÑEZ LUCENA" userId="ec8dd69b-01fe-4d41-a294-c2927b548e27" providerId="ADAL" clId="{91EEDD06-C1A4-414C-A964-FE3044749A60}" dt="2022-07-26T19:15:30.102" v="4827" actId="478"/>
          <ac:spMkLst>
            <pc:docMk/>
            <pc:sldMk cId="701653254" sldId="2568"/>
            <ac:spMk id="121" creationId="{B82F3B22-603B-8FE3-8DFE-15F334BF2113}"/>
          </ac:spMkLst>
        </pc:spChg>
        <pc:spChg chg="add del mod">
          <ac:chgData name="JOSE ANTONIO ORDOÑEZ LUCENA" userId="ec8dd69b-01fe-4d41-a294-c2927b548e27" providerId="ADAL" clId="{91EEDD06-C1A4-414C-A964-FE3044749A60}" dt="2022-07-26T19:15:30.102" v="4827" actId="478"/>
          <ac:spMkLst>
            <pc:docMk/>
            <pc:sldMk cId="701653254" sldId="2568"/>
            <ac:spMk id="122" creationId="{94F13098-0C3F-0B42-D2F6-A0C4CC08FD6A}"/>
          </ac:spMkLst>
        </pc:spChg>
        <pc:spChg chg="add del mod">
          <ac:chgData name="JOSE ANTONIO ORDOÑEZ LUCENA" userId="ec8dd69b-01fe-4d41-a294-c2927b548e27" providerId="ADAL" clId="{91EEDD06-C1A4-414C-A964-FE3044749A60}" dt="2022-07-26T19:15:30.102" v="4827" actId="478"/>
          <ac:spMkLst>
            <pc:docMk/>
            <pc:sldMk cId="701653254" sldId="2568"/>
            <ac:spMk id="123" creationId="{EB6E90BA-9DFA-9F51-2466-A2544CE09FD1}"/>
          </ac:spMkLst>
        </pc:spChg>
        <pc:spChg chg="add del mod">
          <ac:chgData name="JOSE ANTONIO ORDOÑEZ LUCENA" userId="ec8dd69b-01fe-4d41-a294-c2927b548e27" providerId="ADAL" clId="{91EEDD06-C1A4-414C-A964-FE3044749A60}" dt="2022-07-26T19:06:16.445" v="3679" actId="478"/>
          <ac:spMkLst>
            <pc:docMk/>
            <pc:sldMk cId="701653254" sldId="2568"/>
            <ac:spMk id="126" creationId="{1BF29995-6303-D44C-9CA6-C1711A1AB589}"/>
          </ac:spMkLst>
        </pc:spChg>
        <pc:spChg chg="add del mod">
          <ac:chgData name="JOSE ANTONIO ORDOÑEZ LUCENA" userId="ec8dd69b-01fe-4d41-a294-c2927b548e27" providerId="ADAL" clId="{91EEDD06-C1A4-414C-A964-FE3044749A60}" dt="2022-07-26T19:02:41.045" v="3607" actId="478"/>
          <ac:spMkLst>
            <pc:docMk/>
            <pc:sldMk cId="701653254" sldId="2568"/>
            <ac:spMk id="130" creationId="{7D35370C-97A2-7E76-7605-2597F2A3561F}"/>
          </ac:spMkLst>
        </pc:spChg>
        <pc:spChg chg="add mod">
          <ac:chgData name="JOSE ANTONIO ORDOÑEZ LUCENA" userId="ec8dd69b-01fe-4d41-a294-c2927b548e27" providerId="ADAL" clId="{91EEDD06-C1A4-414C-A964-FE3044749A60}" dt="2022-07-26T19:35:15.232" v="5773" actId="1076"/>
          <ac:spMkLst>
            <pc:docMk/>
            <pc:sldMk cId="701653254" sldId="2568"/>
            <ac:spMk id="131" creationId="{F07F27C6-B017-5E49-1FB2-D0757A2F834E}"/>
          </ac:spMkLst>
        </pc:spChg>
        <pc:spChg chg="add mod">
          <ac:chgData name="JOSE ANTONIO ORDOÑEZ LUCENA" userId="ec8dd69b-01fe-4d41-a294-c2927b548e27" providerId="ADAL" clId="{91EEDD06-C1A4-414C-A964-FE3044749A60}" dt="2022-07-26T19:35:20.902" v="5775" actId="1076"/>
          <ac:spMkLst>
            <pc:docMk/>
            <pc:sldMk cId="701653254" sldId="2568"/>
            <ac:spMk id="132" creationId="{0F6E5546-B419-0217-F1B4-72C890137962}"/>
          </ac:spMkLst>
        </pc:spChg>
        <pc:spChg chg="add del mod">
          <ac:chgData name="JOSE ANTONIO ORDOÑEZ LUCENA" userId="ec8dd69b-01fe-4d41-a294-c2927b548e27" providerId="ADAL" clId="{91EEDD06-C1A4-414C-A964-FE3044749A60}" dt="2022-07-26T19:01:49.040" v="3592" actId="478"/>
          <ac:spMkLst>
            <pc:docMk/>
            <pc:sldMk cId="701653254" sldId="2568"/>
            <ac:spMk id="133" creationId="{5DA56DFC-AC43-B735-AF20-40BD5A0A1079}"/>
          </ac:spMkLst>
        </pc:spChg>
        <pc:spChg chg="add del mod">
          <ac:chgData name="JOSE ANTONIO ORDOÑEZ LUCENA" userId="ec8dd69b-01fe-4d41-a294-c2927b548e27" providerId="ADAL" clId="{91EEDD06-C1A4-414C-A964-FE3044749A60}" dt="2022-07-26T19:06:05.302" v="3665"/>
          <ac:spMkLst>
            <pc:docMk/>
            <pc:sldMk cId="701653254" sldId="2568"/>
            <ac:spMk id="159" creationId="{6DD9629E-AAC1-452A-28AC-683D2B0AFA20}"/>
          </ac:spMkLst>
        </pc:spChg>
        <pc:spChg chg="add mod">
          <ac:chgData name="JOSE ANTONIO ORDOÑEZ LUCENA" userId="ec8dd69b-01fe-4d41-a294-c2927b548e27" providerId="ADAL" clId="{91EEDD06-C1A4-414C-A964-FE3044749A60}" dt="2022-07-26T19:33:11.451" v="5636" actId="20577"/>
          <ac:spMkLst>
            <pc:docMk/>
            <pc:sldMk cId="701653254" sldId="2568"/>
            <ac:spMk id="161" creationId="{55262381-21FD-999C-EE1A-4D128E83C21C}"/>
          </ac:spMkLst>
        </pc:spChg>
        <pc:spChg chg="add mod">
          <ac:chgData name="JOSE ANTONIO ORDOÑEZ LUCENA" userId="ec8dd69b-01fe-4d41-a294-c2927b548e27" providerId="ADAL" clId="{91EEDD06-C1A4-414C-A964-FE3044749A60}" dt="2022-07-26T19:32:24.339" v="5511" actId="14100"/>
          <ac:spMkLst>
            <pc:docMk/>
            <pc:sldMk cId="701653254" sldId="2568"/>
            <ac:spMk id="162" creationId="{80E3A41B-C81B-67A2-7D1E-8F157479C659}"/>
          </ac:spMkLst>
        </pc:spChg>
        <pc:spChg chg="add mod">
          <ac:chgData name="JOSE ANTONIO ORDOÑEZ LUCENA" userId="ec8dd69b-01fe-4d41-a294-c2927b548e27" providerId="ADAL" clId="{91EEDD06-C1A4-414C-A964-FE3044749A60}" dt="2022-07-26T19:35:12.599" v="5772" actId="1076"/>
          <ac:spMkLst>
            <pc:docMk/>
            <pc:sldMk cId="701653254" sldId="2568"/>
            <ac:spMk id="164" creationId="{99F6AA1B-FCCE-2D9C-9EDB-49B119A6BFEE}"/>
          </ac:spMkLst>
        </pc:spChg>
        <pc:spChg chg="add mod">
          <ac:chgData name="JOSE ANTONIO ORDOÑEZ LUCENA" userId="ec8dd69b-01fe-4d41-a294-c2927b548e27" providerId="ADAL" clId="{91EEDD06-C1A4-414C-A964-FE3044749A60}" dt="2022-07-26T19:35:02.846" v="5769" actId="1076"/>
          <ac:spMkLst>
            <pc:docMk/>
            <pc:sldMk cId="701653254" sldId="2568"/>
            <ac:spMk id="166" creationId="{3DF67284-194E-0C21-7865-29261DC7645C}"/>
          </ac:spMkLst>
        </pc:spChg>
        <pc:spChg chg="add mod">
          <ac:chgData name="JOSE ANTONIO ORDOÑEZ LUCENA" userId="ec8dd69b-01fe-4d41-a294-c2927b548e27" providerId="ADAL" clId="{91EEDD06-C1A4-414C-A964-FE3044749A60}" dt="2022-07-26T19:24:24.255" v="5327" actId="14100"/>
          <ac:spMkLst>
            <pc:docMk/>
            <pc:sldMk cId="701653254" sldId="2568"/>
            <ac:spMk id="173" creationId="{893304C7-DFE5-46B3-1599-90CBB045CC6C}"/>
          </ac:spMkLst>
        </pc:spChg>
        <pc:spChg chg="add del mod">
          <ac:chgData name="JOSE ANTONIO ORDOÑEZ LUCENA" userId="ec8dd69b-01fe-4d41-a294-c2927b548e27" providerId="ADAL" clId="{91EEDD06-C1A4-414C-A964-FE3044749A60}" dt="2022-07-26T19:23:02.130" v="5073" actId="478"/>
          <ac:spMkLst>
            <pc:docMk/>
            <pc:sldMk cId="701653254" sldId="2568"/>
            <ac:spMk id="186" creationId="{AFCCB1A7-94EE-944D-0007-1E6708B5D171}"/>
          </ac:spMkLst>
        </pc:spChg>
        <pc:spChg chg="add del mod">
          <ac:chgData name="JOSE ANTONIO ORDOÑEZ LUCENA" userId="ec8dd69b-01fe-4d41-a294-c2927b548e27" providerId="ADAL" clId="{91EEDD06-C1A4-414C-A964-FE3044749A60}" dt="2022-07-26T19:17:00.486" v="4851" actId="478"/>
          <ac:spMkLst>
            <pc:docMk/>
            <pc:sldMk cId="701653254" sldId="2568"/>
            <ac:spMk id="197" creationId="{FF1AFB42-DBBD-EB0F-9FFD-9C3ACA8FC70E}"/>
          </ac:spMkLst>
        </pc:spChg>
        <pc:spChg chg="add del mod">
          <ac:chgData name="JOSE ANTONIO ORDOÑEZ LUCENA" userId="ec8dd69b-01fe-4d41-a294-c2927b548e27" providerId="ADAL" clId="{91EEDD06-C1A4-414C-A964-FE3044749A60}" dt="2022-07-26T19:23:01.050" v="5072" actId="478"/>
          <ac:spMkLst>
            <pc:docMk/>
            <pc:sldMk cId="701653254" sldId="2568"/>
            <ac:spMk id="203" creationId="{E1C42872-31EC-6DDE-8809-38777E468FC8}"/>
          </ac:spMkLst>
        </pc:spChg>
        <pc:spChg chg="add del mod">
          <ac:chgData name="JOSE ANTONIO ORDOÑEZ LUCENA" userId="ec8dd69b-01fe-4d41-a294-c2927b548e27" providerId="ADAL" clId="{91EEDD06-C1A4-414C-A964-FE3044749A60}" dt="2022-07-26T19:23:04.215" v="5074" actId="478"/>
          <ac:spMkLst>
            <pc:docMk/>
            <pc:sldMk cId="701653254" sldId="2568"/>
            <ac:spMk id="204" creationId="{2F26AD22-1DED-6752-D55E-D24A6413AD2C}"/>
          </ac:spMkLst>
        </pc:spChg>
        <pc:spChg chg="add del mod">
          <ac:chgData name="JOSE ANTONIO ORDOÑEZ LUCENA" userId="ec8dd69b-01fe-4d41-a294-c2927b548e27" providerId="ADAL" clId="{91EEDD06-C1A4-414C-A964-FE3044749A60}" dt="2022-07-26T19:18:20.028" v="4871" actId="478"/>
          <ac:spMkLst>
            <pc:docMk/>
            <pc:sldMk cId="701653254" sldId="2568"/>
            <ac:spMk id="208" creationId="{51A595FC-616C-5406-E7F1-7254A7A6D5B1}"/>
          </ac:spMkLst>
        </pc:spChg>
        <pc:spChg chg="add del mod">
          <ac:chgData name="JOSE ANTONIO ORDOÑEZ LUCENA" userId="ec8dd69b-01fe-4d41-a294-c2927b548e27" providerId="ADAL" clId="{91EEDD06-C1A4-414C-A964-FE3044749A60}" dt="2022-07-26T19:19:38.334" v="4932" actId="478"/>
          <ac:spMkLst>
            <pc:docMk/>
            <pc:sldMk cId="701653254" sldId="2568"/>
            <ac:spMk id="210" creationId="{02D30611-C849-3EDD-F4CA-D0529DD740C1}"/>
          </ac:spMkLst>
        </pc:spChg>
        <pc:spChg chg="add del mod">
          <ac:chgData name="JOSE ANTONIO ORDOÑEZ LUCENA" userId="ec8dd69b-01fe-4d41-a294-c2927b548e27" providerId="ADAL" clId="{91EEDD06-C1A4-414C-A964-FE3044749A60}" dt="2022-07-26T19:22:57.878" v="5071" actId="478"/>
          <ac:spMkLst>
            <pc:docMk/>
            <pc:sldMk cId="701653254" sldId="2568"/>
            <ac:spMk id="211" creationId="{6CFE4179-7AC0-0993-E3BC-448769195FAA}"/>
          </ac:spMkLst>
        </pc:spChg>
        <pc:spChg chg="add del mod">
          <ac:chgData name="JOSE ANTONIO ORDOÑEZ LUCENA" userId="ec8dd69b-01fe-4d41-a294-c2927b548e27" providerId="ADAL" clId="{91EEDD06-C1A4-414C-A964-FE3044749A60}" dt="2022-07-26T19:22:52.437" v="5069" actId="478"/>
          <ac:spMkLst>
            <pc:docMk/>
            <pc:sldMk cId="701653254" sldId="2568"/>
            <ac:spMk id="212" creationId="{3E619B9B-333C-8A79-3823-7D7AACAC4623}"/>
          </ac:spMkLst>
        </pc:spChg>
        <pc:spChg chg="add del mod">
          <ac:chgData name="JOSE ANTONIO ORDOÑEZ LUCENA" userId="ec8dd69b-01fe-4d41-a294-c2927b548e27" providerId="ADAL" clId="{91EEDD06-C1A4-414C-A964-FE3044749A60}" dt="2022-07-26T19:20:42.262" v="5042" actId="478"/>
          <ac:spMkLst>
            <pc:docMk/>
            <pc:sldMk cId="701653254" sldId="2568"/>
            <ac:spMk id="217" creationId="{628F2284-22CF-AA34-2443-E568EB7E09AB}"/>
          </ac:spMkLst>
        </pc:spChg>
        <pc:spChg chg="add del mod">
          <ac:chgData name="JOSE ANTONIO ORDOÑEZ LUCENA" userId="ec8dd69b-01fe-4d41-a294-c2927b548e27" providerId="ADAL" clId="{91EEDD06-C1A4-414C-A964-FE3044749A60}" dt="2022-07-26T19:25:17.438" v="5332" actId="478"/>
          <ac:spMkLst>
            <pc:docMk/>
            <pc:sldMk cId="701653254" sldId="2568"/>
            <ac:spMk id="231" creationId="{A769C246-662C-18CA-0F75-1DB2428D5417}"/>
          </ac:spMkLst>
        </pc:spChg>
        <pc:spChg chg="add del mod">
          <ac:chgData name="JOSE ANTONIO ORDOÑEZ LUCENA" userId="ec8dd69b-01fe-4d41-a294-c2927b548e27" providerId="ADAL" clId="{91EEDD06-C1A4-414C-A964-FE3044749A60}" dt="2022-07-26T20:27:56.822" v="11868" actId="1076"/>
          <ac:spMkLst>
            <pc:docMk/>
            <pc:sldMk cId="701653254" sldId="2568"/>
            <ac:spMk id="243" creationId="{7FBEDA7C-D4BF-D2F7-379D-E9A0FD19BF3B}"/>
          </ac:spMkLst>
        </pc:spChg>
        <pc:spChg chg="add mod">
          <ac:chgData name="JOSE ANTONIO ORDOÑEZ LUCENA" userId="ec8dd69b-01fe-4d41-a294-c2927b548e27" providerId="ADAL" clId="{91EEDD06-C1A4-414C-A964-FE3044749A60}" dt="2022-07-26T20:27:59.332" v="11869" actId="1076"/>
          <ac:spMkLst>
            <pc:docMk/>
            <pc:sldMk cId="701653254" sldId="2568"/>
            <ac:spMk id="283" creationId="{0241B898-C61F-D362-0679-91B06C46358F}"/>
          </ac:spMkLst>
        </pc:spChg>
        <pc:graphicFrameChg chg="del mod">
          <ac:chgData name="JOSE ANTONIO ORDOÑEZ LUCENA" userId="ec8dd69b-01fe-4d41-a294-c2927b548e27" providerId="ADAL" clId="{91EEDD06-C1A4-414C-A964-FE3044749A60}" dt="2022-07-26T18:46:21.485" v="3006" actId="478"/>
          <ac:graphicFrameMkLst>
            <pc:docMk/>
            <pc:sldMk cId="701653254" sldId="2568"/>
            <ac:graphicFrameMk id="10" creationId="{23A3F9F4-A718-E4AA-DF24-8BFC6DCEA081}"/>
          </ac:graphicFrameMkLst>
        </pc:graphicFrameChg>
        <pc:picChg chg="add del mod">
          <ac:chgData name="JOSE ANTONIO ORDOÑEZ LUCENA" userId="ec8dd69b-01fe-4d41-a294-c2927b548e27" providerId="ADAL" clId="{91EEDD06-C1A4-414C-A964-FE3044749A60}" dt="2022-07-26T18:47:42.408" v="3101"/>
          <ac:picMkLst>
            <pc:docMk/>
            <pc:sldMk cId="701653254" sldId="2568"/>
            <ac:picMk id="6" creationId="{7C299DBE-06EE-D3BA-D04F-87CE1ACD9193}"/>
          </ac:picMkLst>
        </pc:picChg>
        <pc:cxnChg chg="add del mod">
          <ac:chgData name="JOSE ANTONIO ORDOÑEZ LUCENA" userId="ec8dd69b-01fe-4d41-a294-c2927b548e27" providerId="ADAL" clId="{91EEDD06-C1A4-414C-A964-FE3044749A60}" dt="2022-07-26T18:56:35.282" v="3143" actId="478"/>
          <ac:cxnSpMkLst>
            <pc:docMk/>
            <pc:sldMk cId="701653254" sldId="2568"/>
            <ac:cxnSpMk id="27" creationId="{4773E12A-4296-394F-A604-66F055442E8B}"/>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28" creationId="{1B017214-F3F7-0E92-AAC7-DE65C87C815A}"/>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30" creationId="{6E6451C9-6B07-2DAF-7011-605C627A3A25}"/>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31" creationId="{052488C0-496A-AB1E-5267-25A3FC6C58DF}"/>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32" creationId="{EF85F2D6-A04E-D42F-E21F-1C89552D853A}"/>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37" creationId="{3C9B27CF-D454-57B1-4888-4AFF8597461D}"/>
          </ac:cxnSpMkLst>
        </pc:cxnChg>
        <pc:cxnChg chg="add del mod">
          <ac:chgData name="JOSE ANTONIO ORDOÑEZ LUCENA" userId="ec8dd69b-01fe-4d41-a294-c2927b548e27" providerId="ADAL" clId="{91EEDD06-C1A4-414C-A964-FE3044749A60}" dt="2022-07-26T18:56:35.282" v="3143" actId="478"/>
          <ac:cxnSpMkLst>
            <pc:docMk/>
            <pc:sldMk cId="701653254" sldId="2568"/>
            <ac:cxnSpMk id="38" creationId="{0BAC087E-D887-4A9A-6DAC-83779EE0DA12}"/>
          </ac:cxnSpMkLst>
        </pc:cxnChg>
        <pc:cxnChg chg="add del mod">
          <ac:chgData name="JOSE ANTONIO ORDOÑEZ LUCENA" userId="ec8dd69b-01fe-4d41-a294-c2927b548e27" providerId="ADAL" clId="{91EEDD06-C1A4-414C-A964-FE3044749A60}" dt="2022-07-26T18:56:40.086" v="3145"/>
          <ac:cxnSpMkLst>
            <pc:docMk/>
            <pc:sldMk cId="701653254" sldId="2568"/>
            <ac:cxnSpMk id="55" creationId="{12E68FAB-8FDB-F812-F873-25C262EBDF0F}"/>
          </ac:cxnSpMkLst>
        </pc:cxnChg>
        <pc:cxnChg chg="add del mod">
          <ac:chgData name="JOSE ANTONIO ORDOÑEZ LUCENA" userId="ec8dd69b-01fe-4d41-a294-c2927b548e27" providerId="ADAL" clId="{91EEDD06-C1A4-414C-A964-FE3044749A60}" dt="2022-07-26T18:56:40.086" v="3145"/>
          <ac:cxnSpMkLst>
            <pc:docMk/>
            <pc:sldMk cId="701653254" sldId="2568"/>
            <ac:cxnSpMk id="56" creationId="{20791A91-46FA-B603-D22D-5294CFC3BD23}"/>
          </ac:cxnSpMkLst>
        </pc:cxnChg>
        <pc:cxnChg chg="add del mod">
          <ac:chgData name="JOSE ANTONIO ORDOÑEZ LUCENA" userId="ec8dd69b-01fe-4d41-a294-c2927b548e27" providerId="ADAL" clId="{91EEDD06-C1A4-414C-A964-FE3044749A60}" dt="2022-07-26T18:56:40.086" v="3145"/>
          <ac:cxnSpMkLst>
            <pc:docMk/>
            <pc:sldMk cId="701653254" sldId="2568"/>
            <ac:cxnSpMk id="58" creationId="{49817FA0-8C41-A829-B914-6DE17D001DB8}"/>
          </ac:cxnSpMkLst>
        </pc:cxnChg>
        <pc:cxnChg chg="add del mod">
          <ac:chgData name="JOSE ANTONIO ORDOÑEZ LUCENA" userId="ec8dd69b-01fe-4d41-a294-c2927b548e27" providerId="ADAL" clId="{91EEDD06-C1A4-414C-A964-FE3044749A60}" dt="2022-07-26T18:56:40.086" v="3145"/>
          <ac:cxnSpMkLst>
            <pc:docMk/>
            <pc:sldMk cId="701653254" sldId="2568"/>
            <ac:cxnSpMk id="59" creationId="{18F41686-E475-78AF-9242-F683EA8406B2}"/>
          </ac:cxnSpMkLst>
        </pc:cxnChg>
        <pc:cxnChg chg="add del mod">
          <ac:chgData name="JOSE ANTONIO ORDOÑEZ LUCENA" userId="ec8dd69b-01fe-4d41-a294-c2927b548e27" providerId="ADAL" clId="{91EEDD06-C1A4-414C-A964-FE3044749A60}" dt="2022-07-26T18:56:40.086" v="3145"/>
          <ac:cxnSpMkLst>
            <pc:docMk/>
            <pc:sldMk cId="701653254" sldId="2568"/>
            <ac:cxnSpMk id="60" creationId="{22B87336-DE95-16AE-D13B-2FE7562886CC}"/>
          </ac:cxnSpMkLst>
        </pc:cxnChg>
        <pc:cxnChg chg="add del mod">
          <ac:chgData name="JOSE ANTONIO ORDOÑEZ LUCENA" userId="ec8dd69b-01fe-4d41-a294-c2927b548e27" providerId="ADAL" clId="{91EEDD06-C1A4-414C-A964-FE3044749A60}" dt="2022-07-26T18:56:40.086" v="3145"/>
          <ac:cxnSpMkLst>
            <pc:docMk/>
            <pc:sldMk cId="701653254" sldId="2568"/>
            <ac:cxnSpMk id="65" creationId="{BFC9011F-71A0-C19B-FAD7-2D5FD553815F}"/>
          </ac:cxnSpMkLst>
        </pc:cxnChg>
        <pc:cxnChg chg="add del mod">
          <ac:chgData name="JOSE ANTONIO ORDOÑEZ LUCENA" userId="ec8dd69b-01fe-4d41-a294-c2927b548e27" providerId="ADAL" clId="{91EEDD06-C1A4-414C-A964-FE3044749A60}" dt="2022-07-26T18:56:40.086" v="3145"/>
          <ac:cxnSpMkLst>
            <pc:docMk/>
            <pc:sldMk cId="701653254" sldId="2568"/>
            <ac:cxnSpMk id="66" creationId="{6DB7755B-2F32-F41F-C5B8-24B33584AEF2}"/>
          </ac:cxnSpMkLst>
        </pc:cxnChg>
        <pc:cxnChg chg="add mod">
          <ac:chgData name="JOSE ANTONIO ORDOÑEZ LUCENA" userId="ec8dd69b-01fe-4d41-a294-c2927b548e27" providerId="ADAL" clId="{91EEDD06-C1A4-414C-A964-FE3044749A60}" dt="2022-07-26T19:03:17.542" v="3613" actId="1076"/>
          <ac:cxnSpMkLst>
            <pc:docMk/>
            <pc:sldMk cId="701653254" sldId="2568"/>
            <ac:cxnSpMk id="83" creationId="{AE057E12-C820-3BDF-F2D2-01C97040A578}"/>
          </ac:cxnSpMkLst>
        </pc:cxnChg>
        <pc:cxnChg chg="add mod">
          <ac:chgData name="JOSE ANTONIO ORDOÑEZ LUCENA" userId="ec8dd69b-01fe-4d41-a294-c2927b548e27" providerId="ADAL" clId="{91EEDD06-C1A4-414C-A964-FE3044749A60}" dt="2022-07-26T19:03:17.542" v="3613" actId="1076"/>
          <ac:cxnSpMkLst>
            <pc:docMk/>
            <pc:sldMk cId="701653254" sldId="2568"/>
            <ac:cxnSpMk id="84" creationId="{C60EC11F-A314-7459-64A1-FC05AD15C7F2}"/>
          </ac:cxnSpMkLst>
        </pc:cxnChg>
        <pc:cxnChg chg="add mod">
          <ac:chgData name="JOSE ANTONIO ORDOÑEZ LUCENA" userId="ec8dd69b-01fe-4d41-a294-c2927b548e27" providerId="ADAL" clId="{91EEDD06-C1A4-414C-A964-FE3044749A60}" dt="2022-07-26T19:03:17.542" v="3613" actId="1076"/>
          <ac:cxnSpMkLst>
            <pc:docMk/>
            <pc:sldMk cId="701653254" sldId="2568"/>
            <ac:cxnSpMk id="86" creationId="{B21F5470-8437-8577-A957-0056AB5CF771}"/>
          </ac:cxnSpMkLst>
        </pc:cxnChg>
        <pc:cxnChg chg="add mod">
          <ac:chgData name="JOSE ANTONIO ORDOÑEZ LUCENA" userId="ec8dd69b-01fe-4d41-a294-c2927b548e27" providerId="ADAL" clId="{91EEDD06-C1A4-414C-A964-FE3044749A60}" dt="2022-07-26T19:03:17.542" v="3613" actId="1076"/>
          <ac:cxnSpMkLst>
            <pc:docMk/>
            <pc:sldMk cId="701653254" sldId="2568"/>
            <ac:cxnSpMk id="87" creationId="{9AB71B49-A014-A8EC-1C7D-1CB38CFD7C45}"/>
          </ac:cxnSpMkLst>
        </pc:cxnChg>
        <pc:cxnChg chg="add mod">
          <ac:chgData name="JOSE ANTONIO ORDOÑEZ LUCENA" userId="ec8dd69b-01fe-4d41-a294-c2927b548e27" providerId="ADAL" clId="{91EEDD06-C1A4-414C-A964-FE3044749A60}" dt="2022-07-26T19:03:17.542" v="3613" actId="1076"/>
          <ac:cxnSpMkLst>
            <pc:docMk/>
            <pc:sldMk cId="701653254" sldId="2568"/>
            <ac:cxnSpMk id="88" creationId="{67A305CE-73B0-4EA7-A17E-14A067F28CA7}"/>
          </ac:cxnSpMkLst>
        </pc:cxnChg>
        <pc:cxnChg chg="add mod">
          <ac:chgData name="JOSE ANTONIO ORDOÑEZ LUCENA" userId="ec8dd69b-01fe-4d41-a294-c2927b548e27" providerId="ADAL" clId="{91EEDD06-C1A4-414C-A964-FE3044749A60}" dt="2022-07-26T19:03:17.542" v="3613" actId="1076"/>
          <ac:cxnSpMkLst>
            <pc:docMk/>
            <pc:sldMk cId="701653254" sldId="2568"/>
            <ac:cxnSpMk id="93" creationId="{BDEC5779-E8F9-A453-CCE5-CF11D15A7DD2}"/>
          </ac:cxnSpMkLst>
        </pc:cxnChg>
        <pc:cxnChg chg="add mod">
          <ac:chgData name="JOSE ANTONIO ORDOÑEZ LUCENA" userId="ec8dd69b-01fe-4d41-a294-c2927b548e27" providerId="ADAL" clId="{91EEDD06-C1A4-414C-A964-FE3044749A60}" dt="2022-07-26T19:03:17.542" v="3613" actId="1076"/>
          <ac:cxnSpMkLst>
            <pc:docMk/>
            <pc:sldMk cId="701653254" sldId="2568"/>
            <ac:cxnSpMk id="94" creationId="{1ABBFBED-E388-7377-A11D-EDB6950FD8F4}"/>
          </ac:cxnSpMkLst>
        </pc:cxnChg>
        <pc:cxnChg chg="add del mod">
          <ac:chgData name="JOSE ANTONIO ORDOÑEZ LUCENA" userId="ec8dd69b-01fe-4d41-a294-c2927b548e27" providerId="ADAL" clId="{91EEDD06-C1A4-414C-A964-FE3044749A60}" dt="2022-07-26T19:15:30.102" v="4827" actId="478"/>
          <ac:cxnSpMkLst>
            <pc:docMk/>
            <pc:sldMk cId="701653254" sldId="2568"/>
            <ac:cxnSpMk id="124" creationId="{65318A58-1C1B-5E76-1D7A-8CCF444CA8A1}"/>
          </ac:cxnSpMkLst>
        </pc:cxnChg>
        <pc:cxnChg chg="add mod">
          <ac:chgData name="JOSE ANTONIO ORDOÑEZ LUCENA" userId="ec8dd69b-01fe-4d41-a294-c2927b548e27" providerId="ADAL" clId="{91EEDD06-C1A4-414C-A964-FE3044749A60}" dt="2022-07-26T19:35:12.599" v="5772" actId="1076"/>
          <ac:cxnSpMkLst>
            <pc:docMk/>
            <pc:sldMk cId="701653254" sldId="2568"/>
            <ac:cxnSpMk id="125" creationId="{4A7B6E38-F17D-D9A3-7915-F9F779DB1D77}"/>
          </ac:cxnSpMkLst>
        </pc:cxnChg>
        <pc:cxnChg chg="add del mod">
          <ac:chgData name="JOSE ANTONIO ORDOÑEZ LUCENA" userId="ec8dd69b-01fe-4d41-a294-c2927b548e27" providerId="ADAL" clId="{91EEDD06-C1A4-414C-A964-FE3044749A60}" dt="2022-07-26T19:06:17.983" v="3680" actId="478"/>
          <ac:cxnSpMkLst>
            <pc:docMk/>
            <pc:sldMk cId="701653254" sldId="2568"/>
            <ac:cxnSpMk id="127" creationId="{E44077DD-941A-CF11-1BEE-E553B9A7D24F}"/>
          </ac:cxnSpMkLst>
        </pc:cxnChg>
        <pc:cxnChg chg="add del mod">
          <ac:chgData name="JOSE ANTONIO ORDOÑEZ LUCENA" userId="ec8dd69b-01fe-4d41-a294-c2927b548e27" providerId="ADAL" clId="{91EEDD06-C1A4-414C-A964-FE3044749A60}" dt="2022-07-26T19:04:19.279" v="3620" actId="478"/>
          <ac:cxnSpMkLst>
            <pc:docMk/>
            <pc:sldMk cId="701653254" sldId="2568"/>
            <ac:cxnSpMk id="128" creationId="{97FFC5DF-F98A-DD26-E4EF-67E11A3DDF5B}"/>
          </ac:cxnSpMkLst>
        </pc:cxnChg>
        <pc:cxnChg chg="add del mod">
          <ac:chgData name="JOSE ANTONIO ORDOÑEZ LUCENA" userId="ec8dd69b-01fe-4d41-a294-c2927b548e27" providerId="ADAL" clId="{91EEDD06-C1A4-414C-A964-FE3044749A60}" dt="2022-07-26T19:02:34.196" v="3604" actId="478"/>
          <ac:cxnSpMkLst>
            <pc:docMk/>
            <pc:sldMk cId="701653254" sldId="2568"/>
            <ac:cxnSpMk id="129" creationId="{15B9E2FE-52FD-D625-044E-EAD3649C3797}"/>
          </ac:cxnSpMkLst>
        </pc:cxnChg>
        <pc:cxnChg chg="add mod">
          <ac:chgData name="JOSE ANTONIO ORDOÑEZ LUCENA" userId="ec8dd69b-01fe-4d41-a294-c2927b548e27" providerId="ADAL" clId="{91EEDD06-C1A4-414C-A964-FE3044749A60}" dt="2022-07-27T15:42:51.871" v="25660" actId="14100"/>
          <ac:cxnSpMkLst>
            <pc:docMk/>
            <pc:sldMk cId="701653254" sldId="2568"/>
            <ac:cxnSpMk id="134" creationId="{348BA3D7-31BE-77B6-A248-E25CB7237DAF}"/>
          </ac:cxnSpMkLst>
        </pc:cxnChg>
        <pc:cxnChg chg="add del mod">
          <ac:chgData name="JOSE ANTONIO ORDOÑEZ LUCENA" userId="ec8dd69b-01fe-4d41-a294-c2927b548e27" providerId="ADAL" clId="{91EEDD06-C1A4-414C-A964-FE3044749A60}" dt="2022-07-26T19:23:19.539" v="5136" actId="478"/>
          <ac:cxnSpMkLst>
            <pc:docMk/>
            <pc:sldMk cId="701653254" sldId="2568"/>
            <ac:cxnSpMk id="135" creationId="{9DEAEBC4-C646-A326-7EF8-80E1BA2B3DA2}"/>
          </ac:cxnSpMkLst>
        </pc:cxnChg>
        <pc:cxnChg chg="add mod">
          <ac:chgData name="JOSE ANTONIO ORDOÑEZ LUCENA" userId="ec8dd69b-01fe-4d41-a294-c2927b548e27" providerId="ADAL" clId="{91EEDD06-C1A4-414C-A964-FE3044749A60}" dt="2022-07-26T19:35:18.685" v="5774" actId="14100"/>
          <ac:cxnSpMkLst>
            <pc:docMk/>
            <pc:sldMk cId="701653254" sldId="2568"/>
            <ac:cxnSpMk id="137" creationId="{EB22D3CE-60A9-2F44-1E4B-270CE5C66B76}"/>
          </ac:cxnSpMkLst>
        </pc:cxnChg>
        <pc:cxnChg chg="add del mod">
          <ac:chgData name="JOSE ANTONIO ORDOÑEZ LUCENA" userId="ec8dd69b-01fe-4d41-a294-c2927b548e27" providerId="ADAL" clId="{91EEDD06-C1A4-414C-A964-FE3044749A60}" dt="2022-07-26T19:06:06.278" v="3671"/>
          <ac:cxnSpMkLst>
            <pc:docMk/>
            <pc:sldMk cId="701653254" sldId="2568"/>
            <ac:cxnSpMk id="156" creationId="{EA554E6B-66AC-9984-7785-C1DB9FAD69D7}"/>
          </ac:cxnSpMkLst>
        </pc:cxnChg>
        <pc:cxnChg chg="add del mod">
          <ac:chgData name="JOSE ANTONIO ORDOÑEZ LUCENA" userId="ec8dd69b-01fe-4d41-a294-c2927b548e27" providerId="ADAL" clId="{91EEDD06-C1A4-414C-A964-FE3044749A60}" dt="2022-07-26T19:37:36.861" v="5847" actId="478"/>
          <ac:cxnSpMkLst>
            <pc:docMk/>
            <pc:sldMk cId="701653254" sldId="2568"/>
            <ac:cxnSpMk id="163" creationId="{2DB5905F-ADA6-65E8-4200-7F6A2768978F}"/>
          </ac:cxnSpMkLst>
        </pc:cxnChg>
        <pc:cxnChg chg="add mod">
          <ac:chgData name="JOSE ANTONIO ORDOÑEZ LUCENA" userId="ec8dd69b-01fe-4d41-a294-c2927b548e27" providerId="ADAL" clId="{91EEDD06-C1A4-414C-A964-FE3044749A60}" dt="2022-07-26T19:35:12.599" v="5772" actId="1076"/>
          <ac:cxnSpMkLst>
            <pc:docMk/>
            <pc:sldMk cId="701653254" sldId="2568"/>
            <ac:cxnSpMk id="168" creationId="{84FD3B97-4F39-DF8F-3472-C098D3407BAE}"/>
          </ac:cxnSpMkLst>
        </pc:cxnChg>
        <pc:cxnChg chg="add del mod">
          <ac:chgData name="JOSE ANTONIO ORDOÑEZ LUCENA" userId="ec8dd69b-01fe-4d41-a294-c2927b548e27" providerId="ADAL" clId="{91EEDD06-C1A4-414C-A964-FE3044749A60}" dt="2022-07-26T19:22:43.537" v="5066" actId="478"/>
          <ac:cxnSpMkLst>
            <pc:docMk/>
            <pc:sldMk cId="701653254" sldId="2568"/>
            <ac:cxnSpMk id="190" creationId="{F74D0FBE-CB4C-4944-4EB7-14D3F18B66AF}"/>
          </ac:cxnSpMkLst>
        </pc:cxnChg>
        <pc:cxnChg chg="add del mod">
          <ac:chgData name="JOSE ANTONIO ORDOÑEZ LUCENA" userId="ec8dd69b-01fe-4d41-a294-c2927b548e27" providerId="ADAL" clId="{91EEDD06-C1A4-414C-A964-FE3044749A60}" dt="2022-07-26T19:23:21.075" v="5137" actId="478"/>
          <ac:cxnSpMkLst>
            <pc:docMk/>
            <pc:sldMk cId="701653254" sldId="2568"/>
            <ac:cxnSpMk id="200" creationId="{B71F79F1-47FA-E4F9-E8F1-E9C34EC13D68}"/>
          </ac:cxnSpMkLst>
        </pc:cxnChg>
        <pc:cxnChg chg="add mod">
          <ac:chgData name="JOSE ANTONIO ORDOÑEZ LUCENA" userId="ec8dd69b-01fe-4d41-a294-c2927b548e27" providerId="ADAL" clId="{91EEDD06-C1A4-414C-A964-FE3044749A60}" dt="2022-07-26T19:24:38.931" v="5328" actId="14100"/>
          <ac:cxnSpMkLst>
            <pc:docMk/>
            <pc:sldMk cId="701653254" sldId="2568"/>
            <ac:cxnSpMk id="221" creationId="{42BA99DF-CF2E-21E2-D452-4BDA63F18469}"/>
          </ac:cxnSpMkLst>
        </pc:cxnChg>
        <pc:cxnChg chg="add mod">
          <ac:chgData name="JOSE ANTONIO ORDOÑEZ LUCENA" userId="ec8dd69b-01fe-4d41-a294-c2927b548e27" providerId="ADAL" clId="{91EEDD06-C1A4-414C-A964-FE3044749A60}" dt="2022-07-26T19:36:11.997" v="5816" actId="14100"/>
          <ac:cxnSpMkLst>
            <pc:docMk/>
            <pc:sldMk cId="701653254" sldId="2568"/>
            <ac:cxnSpMk id="233" creationId="{DB45211D-C17A-5445-4FE7-D2000245FF8F}"/>
          </ac:cxnSpMkLst>
        </pc:cxnChg>
        <pc:cxnChg chg="add mod">
          <ac:chgData name="JOSE ANTONIO ORDOÑEZ LUCENA" userId="ec8dd69b-01fe-4d41-a294-c2927b548e27" providerId="ADAL" clId="{91EEDD06-C1A4-414C-A964-FE3044749A60}" dt="2022-07-26T19:35:26.583" v="5776" actId="1076"/>
          <ac:cxnSpMkLst>
            <pc:docMk/>
            <pc:sldMk cId="701653254" sldId="2568"/>
            <ac:cxnSpMk id="236" creationId="{D526C31C-8974-7AEB-4999-EA71F2A4E07C}"/>
          </ac:cxnSpMkLst>
        </pc:cxnChg>
        <pc:cxnChg chg="add mod">
          <ac:chgData name="JOSE ANTONIO ORDOÑEZ LUCENA" userId="ec8dd69b-01fe-4d41-a294-c2927b548e27" providerId="ADAL" clId="{91EEDD06-C1A4-414C-A964-FE3044749A60}" dt="2022-07-26T19:35:46.596" v="5782" actId="1076"/>
          <ac:cxnSpMkLst>
            <pc:docMk/>
            <pc:sldMk cId="701653254" sldId="2568"/>
            <ac:cxnSpMk id="238" creationId="{6F9696A2-6237-2C11-073E-EDA7CCA3C907}"/>
          </ac:cxnSpMkLst>
        </pc:cxnChg>
        <pc:cxnChg chg="add mod">
          <ac:chgData name="JOSE ANTONIO ORDOÑEZ LUCENA" userId="ec8dd69b-01fe-4d41-a294-c2927b548e27" providerId="ADAL" clId="{91EEDD06-C1A4-414C-A964-FE3044749A60}" dt="2022-07-26T19:33:19.914" v="5639" actId="14100"/>
          <ac:cxnSpMkLst>
            <pc:docMk/>
            <pc:sldMk cId="701653254" sldId="2568"/>
            <ac:cxnSpMk id="254" creationId="{06310DA2-141A-64AE-D062-4AC7C5231379}"/>
          </ac:cxnSpMkLst>
        </pc:cxnChg>
        <pc:cxnChg chg="add mod">
          <ac:chgData name="JOSE ANTONIO ORDOÑEZ LUCENA" userId="ec8dd69b-01fe-4d41-a294-c2927b548e27" providerId="ADAL" clId="{91EEDD06-C1A4-414C-A964-FE3044749A60}" dt="2022-07-26T19:37:08.864" v="5844" actId="14100"/>
          <ac:cxnSpMkLst>
            <pc:docMk/>
            <pc:sldMk cId="701653254" sldId="2568"/>
            <ac:cxnSpMk id="272" creationId="{B8D45526-F4B4-94EC-E84C-CA663FEB3ED7}"/>
          </ac:cxnSpMkLst>
        </pc:cxnChg>
        <pc:cxnChg chg="add mod">
          <ac:chgData name="JOSE ANTONIO ORDOÑEZ LUCENA" userId="ec8dd69b-01fe-4d41-a294-c2927b548e27" providerId="ADAL" clId="{91EEDD06-C1A4-414C-A964-FE3044749A60}" dt="2022-07-26T19:36:38.607" v="5835" actId="14100"/>
          <ac:cxnSpMkLst>
            <pc:docMk/>
            <pc:sldMk cId="701653254" sldId="2568"/>
            <ac:cxnSpMk id="273" creationId="{D0DA99AA-01E5-5E8C-84A3-AA1C84726C4D}"/>
          </ac:cxnSpMkLst>
        </pc:cxnChg>
        <pc:cxnChg chg="add mod">
          <ac:chgData name="JOSE ANTONIO ORDOÑEZ LUCENA" userId="ec8dd69b-01fe-4d41-a294-c2927b548e27" providerId="ADAL" clId="{91EEDD06-C1A4-414C-A964-FE3044749A60}" dt="2022-07-26T19:36:43.800" v="5838" actId="1076"/>
          <ac:cxnSpMkLst>
            <pc:docMk/>
            <pc:sldMk cId="701653254" sldId="2568"/>
            <ac:cxnSpMk id="274" creationId="{95B141A8-034C-E044-E357-9FECCE488DB2}"/>
          </ac:cxnSpMkLst>
        </pc:cxnChg>
      </pc:sldChg>
      <pc:sldChg chg="addSp delSp modSp add mod">
        <pc:chgData name="JOSE ANTONIO ORDOÑEZ LUCENA" userId="ec8dd69b-01fe-4d41-a294-c2927b548e27" providerId="ADAL" clId="{91EEDD06-C1A4-414C-A964-FE3044749A60}" dt="2022-07-27T15:25:06.849" v="25657" actId="20578"/>
        <pc:sldMkLst>
          <pc:docMk/>
          <pc:sldMk cId="392281521" sldId="2569"/>
        </pc:sldMkLst>
        <pc:spChg chg="mod">
          <ac:chgData name="JOSE ANTONIO ORDOÑEZ LUCENA" userId="ec8dd69b-01fe-4d41-a294-c2927b548e27" providerId="ADAL" clId="{91EEDD06-C1A4-414C-A964-FE3044749A60}" dt="2022-07-26T18:31:21.998" v="1609" actId="1076"/>
          <ac:spMkLst>
            <pc:docMk/>
            <pc:sldMk cId="392281521" sldId="2569"/>
            <ac:spMk id="2" creationId="{2B73D7CB-E55B-ED4D-A567-274B625D4CEF}"/>
          </ac:spMkLst>
        </pc:spChg>
        <pc:spChg chg="add del mod">
          <ac:chgData name="JOSE ANTONIO ORDOÑEZ LUCENA" userId="ec8dd69b-01fe-4d41-a294-c2927b548e27" providerId="ADAL" clId="{91EEDD06-C1A4-414C-A964-FE3044749A60}" dt="2022-07-26T18:29:32.312" v="1555" actId="478"/>
          <ac:spMkLst>
            <pc:docMk/>
            <pc:sldMk cId="392281521" sldId="2569"/>
            <ac:spMk id="6" creationId="{82656381-DD25-4BFE-0843-4D6714D04B95}"/>
          </ac:spMkLst>
        </pc:spChg>
        <pc:spChg chg="add mod">
          <ac:chgData name="JOSE ANTONIO ORDOÑEZ LUCENA" userId="ec8dd69b-01fe-4d41-a294-c2927b548e27" providerId="ADAL" clId="{91EEDD06-C1A4-414C-A964-FE3044749A60}" dt="2022-07-26T18:39:59.956" v="2324" actId="1076"/>
          <ac:spMkLst>
            <pc:docMk/>
            <pc:sldMk cId="392281521" sldId="2569"/>
            <ac:spMk id="7" creationId="{427154C9-E78F-7F07-A8BE-40FC3A58F66A}"/>
          </ac:spMkLst>
        </pc:spChg>
        <pc:spChg chg="add mod">
          <ac:chgData name="JOSE ANTONIO ORDOÑEZ LUCENA" userId="ec8dd69b-01fe-4d41-a294-c2927b548e27" providerId="ADAL" clId="{91EEDD06-C1A4-414C-A964-FE3044749A60}" dt="2022-07-26T18:39:59.956" v="2324" actId="1076"/>
          <ac:spMkLst>
            <pc:docMk/>
            <pc:sldMk cId="392281521" sldId="2569"/>
            <ac:spMk id="8" creationId="{B340640E-4466-B7CA-EE32-D18C2BB5559C}"/>
          </ac:spMkLst>
        </pc:spChg>
        <pc:spChg chg="del mod">
          <ac:chgData name="JOSE ANTONIO ORDOÑEZ LUCENA" userId="ec8dd69b-01fe-4d41-a294-c2927b548e27" providerId="ADAL" clId="{91EEDD06-C1A4-414C-A964-FE3044749A60}" dt="2022-07-26T18:29:30.283" v="1554" actId="478"/>
          <ac:spMkLst>
            <pc:docMk/>
            <pc:sldMk cId="392281521" sldId="2569"/>
            <ac:spMk id="9" creationId="{E312B357-7C95-BC01-1B98-974A1321AE87}"/>
          </ac:spMkLst>
        </pc:spChg>
        <pc:spChg chg="del">
          <ac:chgData name="JOSE ANTONIO ORDOÑEZ LUCENA" userId="ec8dd69b-01fe-4d41-a294-c2927b548e27" providerId="ADAL" clId="{91EEDD06-C1A4-414C-A964-FE3044749A60}" dt="2022-07-26T18:37:49.157" v="2041" actId="478"/>
          <ac:spMkLst>
            <pc:docMk/>
            <pc:sldMk cId="392281521" sldId="2569"/>
            <ac:spMk id="10" creationId="{C3428828-71C1-C13F-FB39-8F296D3B2065}"/>
          </ac:spMkLst>
        </pc:spChg>
        <pc:spChg chg="add del mod">
          <ac:chgData name="JOSE ANTONIO ORDOÑEZ LUCENA" userId="ec8dd69b-01fe-4d41-a294-c2927b548e27" providerId="ADAL" clId="{91EEDD06-C1A4-414C-A964-FE3044749A60}" dt="2022-07-26T18:30:01.821" v="1570" actId="478"/>
          <ac:spMkLst>
            <pc:docMk/>
            <pc:sldMk cId="392281521" sldId="2569"/>
            <ac:spMk id="11" creationId="{223E4A7B-B250-CD85-4486-653FCB224F62}"/>
          </ac:spMkLst>
        </pc:spChg>
        <pc:spChg chg="add mod">
          <ac:chgData name="JOSE ANTONIO ORDOÑEZ LUCENA" userId="ec8dd69b-01fe-4d41-a294-c2927b548e27" providerId="ADAL" clId="{91EEDD06-C1A4-414C-A964-FE3044749A60}" dt="2022-07-26T18:39:59.956" v="2324" actId="1076"/>
          <ac:spMkLst>
            <pc:docMk/>
            <pc:sldMk cId="392281521" sldId="2569"/>
            <ac:spMk id="12" creationId="{A8E98995-B990-908D-4632-F8A2FF36F765}"/>
          </ac:spMkLst>
        </pc:spChg>
        <pc:spChg chg="add mod">
          <ac:chgData name="JOSE ANTONIO ORDOÑEZ LUCENA" userId="ec8dd69b-01fe-4d41-a294-c2927b548e27" providerId="ADAL" clId="{91EEDD06-C1A4-414C-A964-FE3044749A60}" dt="2022-07-27T07:02:44.798" v="19137" actId="20577"/>
          <ac:spMkLst>
            <pc:docMk/>
            <pc:sldMk cId="392281521" sldId="2569"/>
            <ac:spMk id="13" creationId="{363ABA18-303F-D7FC-5290-78B7E2E74559}"/>
          </ac:spMkLst>
        </pc:spChg>
        <pc:spChg chg="add del mod">
          <ac:chgData name="JOSE ANTONIO ORDOÑEZ LUCENA" userId="ec8dd69b-01fe-4d41-a294-c2927b548e27" providerId="ADAL" clId="{91EEDD06-C1A4-414C-A964-FE3044749A60}" dt="2022-07-26T18:30:50.384" v="1601"/>
          <ac:spMkLst>
            <pc:docMk/>
            <pc:sldMk cId="392281521" sldId="2569"/>
            <ac:spMk id="21" creationId="{28B2E9A3-6B48-07D8-2A06-D381FB82334B}"/>
          </ac:spMkLst>
        </pc:spChg>
        <pc:spChg chg="add mod">
          <ac:chgData name="JOSE ANTONIO ORDOÑEZ LUCENA" userId="ec8dd69b-01fe-4d41-a294-c2927b548e27" providerId="ADAL" clId="{91EEDD06-C1A4-414C-A964-FE3044749A60}" dt="2022-07-26T18:31:19.215" v="1607" actId="1076"/>
          <ac:spMkLst>
            <pc:docMk/>
            <pc:sldMk cId="392281521" sldId="2569"/>
            <ac:spMk id="28" creationId="{7F69C2B0-0D27-A847-38CD-488FB5BEBC52}"/>
          </ac:spMkLst>
        </pc:spChg>
        <pc:spChg chg="add mod">
          <ac:chgData name="JOSE ANTONIO ORDOÑEZ LUCENA" userId="ec8dd69b-01fe-4d41-a294-c2927b548e27" providerId="ADAL" clId="{91EEDD06-C1A4-414C-A964-FE3044749A60}" dt="2022-07-26T18:35:57.439" v="1963" actId="14100"/>
          <ac:spMkLst>
            <pc:docMk/>
            <pc:sldMk cId="392281521" sldId="2569"/>
            <ac:spMk id="56" creationId="{611A167A-72C0-F857-D1DB-3051E6D002F7}"/>
          </ac:spMkLst>
        </pc:spChg>
        <pc:spChg chg="add mod">
          <ac:chgData name="JOSE ANTONIO ORDOÑEZ LUCENA" userId="ec8dd69b-01fe-4d41-a294-c2927b548e27" providerId="ADAL" clId="{91EEDD06-C1A4-414C-A964-FE3044749A60}" dt="2022-07-26T18:36:13.112" v="2004" actId="207"/>
          <ac:spMkLst>
            <pc:docMk/>
            <pc:sldMk cId="392281521" sldId="2569"/>
            <ac:spMk id="57" creationId="{D21B863B-4575-CA81-13BE-4A09DAF4B489}"/>
          </ac:spMkLst>
        </pc:spChg>
        <pc:spChg chg="add mod">
          <ac:chgData name="JOSE ANTONIO ORDOÑEZ LUCENA" userId="ec8dd69b-01fe-4d41-a294-c2927b548e27" providerId="ADAL" clId="{91EEDD06-C1A4-414C-A964-FE3044749A60}" dt="2022-07-26T18:37:07.581" v="2035" actId="1582"/>
          <ac:spMkLst>
            <pc:docMk/>
            <pc:sldMk cId="392281521" sldId="2569"/>
            <ac:spMk id="58" creationId="{08F55E90-8A75-C1DF-DCF2-86E729317585}"/>
          </ac:spMkLst>
        </pc:spChg>
        <pc:spChg chg="add mod">
          <ac:chgData name="JOSE ANTONIO ORDOÑEZ LUCENA" userId="ec8dd69b-01fe-4d41-a294-c2927b548e27" providerId="ADAL" clId="{91EEDD06-C1A4-414C-A964-FE3044749A60}" dt="2022-07-26T18:40:04.228" v="2325" actId="1076"/>
          <ac:spMkLst>
            <pc:docMk/>
            <pc:sldMk cId="392281521" sldId="2569"/>
            <ac:spMk id="59" creationId="{57195A77-4E32-039C-42ED-F9B33E9C66C9}"/>
          </ac:spMkLst>
        </pc:spChg>
        <pc:spChg chg="add mod">
          <ac:chgData name="JOSE ANTONIO ORDOÑEZ LUCENA" userId="ec8dd69b-01fe-4d41-a294-c2927b548e27" providerId="ADAL" clId="{91EEDD06-C1A4-414C-A964-FE3044749A60}" dt="2022-07-26T18:39:59.956" v="2324" actId="1076"/>
          <ac:spMkLst>
            <pc:docMk/>
            <pc:sldMk cId="392281521" sldId="2569"/>
            <ac:spMk id="64" creationId="{D20A8C4D-C332-7071-6627-180B994A4C02}"/>
          </ac:spMkLst>
        </pc:spChg>
        <pc:spChg chg="add mod">
          <ac:chgData name="JOSE ANTONIO ORDOÑEZ LUCENA" userId="ec8dd69b-01fe-4d41-a294-c2927b548e27" providerId="ADAL" clId="{91EEDD06-C1A4-414C-A964-FE3044749A60}" dt="2022-07-27T15:25:06.849" v="25657" actId="20578"/>
          <ac:spMkLst>
            <pc:docMk/>
            <pc:sldMk cId="392281521" sldId="2569"/>
            <ac:spMk id="65" creationId="{BC19CFB0-D59C-BAE1-6C67-C0BEBA497D49}"/>
          </ac:spMkLst>
        </pc:spChg>
        <pc:spChg chg="add mod">
          <ac:chgData name="JOSE ANTONIO ORDOÑEZ LUCENA" userId="ec8dd69b-01fe-4d41-a294-c2927b548e27" providerId="ADAL" clId="{91EEDD06-C1A4-414C-A964-FE3044749A60}" dt="2022-07-26T18:41:40.697" v="2458" actId="1076"/>
          <ac:spMkLst>
            <pc:docMk/>
            <pc:sldMk cId="392281521" sldId="2569"/>
            <ac:spMk id="66" creationId="{32B3B7B0-C766-17C2-44E9-5B72886CAEFC}"/>
          </ac:spMkLst>
        </pc:spChg>
        <pc:spChg chg="add mod">
          <ac:chgData name="JOSE ANTONIO ORDOÑEZ LUCENA" userId="ec8dd69b-01fe-4d41-a294-c2927b548e27" providerId="ADAL" clId="{91EEDD06-C1A4-414C-A964-FE3044749A60}" dt="2022-07-26T18:42:01.442" v="2463" actId="1076"/>
          <ac:spMkLst>
            <pc:docMk/>
            <pc:sldMk cId="392281521" sldId="2569"/>
            <ac:spMk id="67" creationId="{BF3E1562-1964-083D-5C2D-7A2FF9045D7D}"/>
          </ac:spMkLst>
        </pc:spChg>
        <pc:cxnChg chg="add mod">
          <ac:chgData name="JOSE ANTONIO ORDOÑEZ LUCENA" userId="ec8dd69b-01fe-4d41-a294-c2927b548e27" providerId="ADAL" clId="{91EEDD06-C1A4-414C-A964-FE3044749A60}" dt="2022-07-26T18:39:59.956" v="2324" actId="1076"/>
          <ac:cxnSpMkLst>
            <pc:docMk/>
            <pc:sldMk cId="392281521" sldId="2569"/>
            <ac:cxnSpMk id="15" creationId="{70A38135-EAED-8BB3-93A8-DD49C3E03E47}"/>
          </ac:cxnSpMkLst>
        </pc:cxnChg>
        <pc:cxnChg chg="add mod">
          <ac:chgData name="JOSE ANTONIO ORDOÑEZ LUCENA" userId="ec8dd69b-01fe-4d41-a294-c2927b548e27" providerId="ADAL" clId="{91EEDD06-C1A4-414C-A964-FE3044749A60}" dt="2022-07-26T18:39:59.956" v="2324" actId="1076"/>
          <ac:cxnSpMkLst>
            <pc:docMk/>
            <pc:sldMk cId="392281521" sldId="2569"/>
            <ac:cxnSpMk id="17" creationId="{8CAAC17B-9F8B-2C64-EA0C-F07FC976AF82}"/>
          </ac:cxnSpMkLst>
        </pc:cxnChg>
        <pc:cxnChg chg="add mod">
          <ac:chgData name="JOSE ANTONIO ORDOÑEZ LUCENA" userId="ec8dd69b-01fe-4d41-a294-c2927b548e27" providerId="ADAL" clId="{91EEDD06-C1A4-414C-A964-FE3044749A60}" dt="2022-07-26T18:39:59.956" v="2324" actId="1076"/>
          <ac:cxnSpMkLst>
            <pc:docMk/>
            <pc:sldMk cId="392281521" sldId="2569"/>
            <ac:cxnSpMk id="24" creationId="{DCFDC013-BBA4-BAC3-B85F-DD1A48F0C513}"/>
          </ac:cxnSpMkLst>
        </pc:cxnChg>
      </pc:sldChg>
      <pc:sldChg chg="addSp delSp modSp add mod addCm">
        <pc:chgData name="JOSE ANTONIO ORDOÑEZ LUCENA" userId="ec8dd69b-01fe-4d41-a294-c2927b548e27" providerId="ADAL" clId="{91EEDD06-C1A4-414C-A964-FE3044749A60}" dt="2022-08-01T13:18:30.553" v="25682" actId="14734"/>
        <pc:sldMkLst>
          <pc:docMk/>
          <pc:sldMk cId="1986817877" sldId="2570"/>
        </pc:sldMkLst>
        <pc:spChg chg="mod">
          <ac:chgData name="JOSE ANTONIO ORDOÑEZ LUCENA" userId="ec8dd69b-01fe-4d41-a294-c2927b548e27" providerId="ADAL" clId="{91EEDD06-C1A4-414C-A964-FE3044749A60}" dt="2022-07-26T19:39:18.714" v="5998" actId="20577"/>
          <ac:spMkLst>
            <pc:docMk/>
            <pc:sldMk cId="1986817877" sldId="2570"/>
            <ac:spMk id="2" creationId="{2B73D7CB-E55B-ED4D-A567-274B625D4CEF}"/>
          </ac:spMkLst>
        </pc:spChg>
        <pc:spChg chg="del">
          <ac:chgData name="JOSE ANTONIO ORDOÑEZ LUCENA" userId="ec8dd69b-01fe-4d41-a294-c2927b548e27" providerId="ADAL" clId="{91EEDD06-C1A4-414C-A964-FE3044749A60}" dt="2022-07-26T19:38:16.831" v="5864" actId="478"/>
          <ac:spMkLst>
            <pc:docMk/>
            <pc:sldMk cId="1986817877" sldId="2570"/>
            <ac:spMk id="3" creationId="{0C007C4B-8C65-844F-F4F7-D564808C65C9}"/>
          </ac:spMkLst>
        </pc:spChg>
        <pc:spChg chg="add del mod">
          <ac:chgData name="JOSE ANTONIO ORDOÑEZ LUCENA" userId="ec8dd69b-01fe-4d41-a294-c2927b548e27" providerId="ADAL" clId="{91EEDD06-C1A4-414C-A964-FE3044749A60}" dt="2022-07-27T16:16:18.694" v="25677" actId="478"/>
          <ac:spMkLst>
            <pc:docMk/>
            <pc:sldMk cId="1986817877" sldId="2570"/>
            <ac:spMk id="3" creationId="{3699B98B-FE82-974D-95C6-F7B8B4B6E09B}"/>
          </ac:spMkLst>
        </pc:spChg>
        <pc:spChg chg="add del mod">
          <ac:chgData name="JOSE ANTONIO ORDOÑEZ LUCENA" userId="ec8dd69b-01fe-4d41-a294-c2927b548e27" providerId="ADAL" clId="{91EEDD06-C1A4-414C-A964-FE3044749A60}" dt="2022-07-26T19:39:44.216" v="6000"/>
          <ac:spMkLst>
            <pc:docMk/>
            <pc:sldMk cId="1986817877" sldId="2570"/>
            <ac:spMk id="6" creationId="{ED43C07C-92FF-EB4B-75FC-30B600D2328B}"/>
          </ac:spMkLst>
        </pc:spChg>
        <pc:spChg chg="add mod">
          <ac:chgData name="JOSE ANTONIO ORDOÑEZ LUCENA" userId="ec8dd69b-01fe-4d41-a294-c2927b548e27" providerId="ADAL" clId="{91EEDD06-C1A4-414C-A964-FE3044749A60}" dt="2022-07-27T07:20:07.660" v="20832" actId="207"/>
          <ac:spMkLst>
            <pc:docMk/>
            <pc:sldMk cId="1986817877" sldId="2570"/>
            <ac:spMk id="7" creationId="{DC9E7C19-54DD-2FE2-245C-9310DE829FB1}"/>
          </ac:spMkLst>
        </pc:spChg>
        <pc:spChg chg="del">
          <ac:chgData name="JOSE ANTONIO ORDOÑEZ LUCENA" userId="ec8dd69b-01fe-4d41-a294-c2927b548e27" providerId="ADAL" clId="{91EEDD06-C1A4-414C-A964-FE3044749A60}" dt="2022-07-26T19:38:16.831" v="5864" actId="478"/>
          <ac:spMkLst>
            <pc:docMk/>
            <pc:sldMk cId="1986817877" sldId="2570"/>
            <ac:spMk id="67" creationId="{386D4FF2-52B4-FC06-E8BF-7DFD650B0CED}"/>
          </ac:spMkLst>
        </pc:spChg>
        <pc:spChg chg="del">
          <ac:chgData name="JOSE ANTONIO ORDOÑEZ LUCENA" userId="ec8dd69b-01fe-4d41-a294-c2927b548e27" providerId="ADAL" clId="{91EEDD06-C1A4-414C-A964-FE3044749A60}" dt="2022-07-26T19:38:16.831" v="5864" actId="478"/>
          <ac:spMkLst>
            <pc:docMk/>
            <pc:sldMk cId="1986817877" sldId="2570"/>
            <ac:spMk id="68" creationId="{4AE6FE71-E188-1626-D2F9-37C720E4BBBF}"/>
          </ac:spMkLst>
        </pc:spChg>
        <pc:spChg chg="del">
          <ac:chgData name="JOSE ANTONIO ORDOÑEZ LUCENA" userId="ec8dd69b-01fe-4d41-a294-c2927b548e27" providerId="ADAL" clId="{91EEDD06-C1A4-414C-A964-FE3044749A60}" dt="2022-07-26T19:38:16.831" v="5864" actId="478"/>
          <ac:spMkLst>
            <pc:docMk/>
            <pc:sldMk cId="1986817877" sldId="2570"/>
            <ac:spMk id="69" creationId="{3C03EF52-DD1C-9319-26E8-C0CBE27AD039}"/>
          </ac:spMkLst>
        </pc:spChg>
        <pc:spChg chg="del">
          <ac:chgData name="JOSE ANTONIO ORDOÑEZ LUCENA" userId="ec8dd69b-01fe-4d41-a294-c2927b548e27" providerId="ADAL" clId="{91EEDD06-C1A4-414C-A964-FE3044749A60}" dt="2022-07-26T19:38:16.831" v="5864" actId="478"/>
          <ac:spMkLst>
            <pc:docMk/>
            <pc:sldMk cId="1986817877" sldId="2570"/>
            <ac:spMk id="70" creationId="{2F333E91-EC82-88CE-DE6F-8E1AF9E89B09}"/>
          </ac:spMkLst>
        </pc:spChg>
        <pc:spChg chg="del">
          <ac:chgData name="JOSE ANTONIO ORDOÑEZ LUCENA" userId="ec8dd69b-01fe-4d41-a294-c2927b548e27" providerId="ADAL" clId="{91EEDD06-C1A4-414C-A964-FE3044749A60}" dt="2022-07-26T19:38:16.831" v="5864" actId="478"/>
          <ac:spMkLst>
            <pc:docMk/>
            <pc:sldMk cId="1986817877" sldId="2570"/>
            <ac:spMk id="71" creationId="{07A9DD2D-C30E-5222-F699-A129D04B8A14}"/>
          </ac:spMkLst>
        </pc:spChg>
        <pc:spChg chg="del">
          <ac:chgData name="JOSE ANTONIO ORDOÑEZ LUCENA" userId="ec8dd69b-01fe-4d41-a294-c2927b548e27" providerId="ADAL" clId="{91EEDD06-C1A4-414C-A964-FE3044749A60}" dt="2022-07-26T19:38:16.831" v="5864" actId="478"/>
          <ac:spMkLst>
            <pc:docMk/>
            <pc:sldMk cId="1986817877" sldId="2570"/>
            <ac:spMk id="72" creationId="{4C342442-ED3E-5CDE-31C0-AD997DF91CA7}"/>
          </ac:spMkLst>
        </pc:spChg>
        <pc:spChg chg="del">
          <ac:chgData name="JOSE ANTONIO ORDOÑEZ LUCENA" userId="ec8dd69b-01fe-4d41-a294-c2927b548e27" providerId="ADAL" clId="{91EEDD06-C1A4-414C-A964-FE3044749A60}" dt="2022-07-26T19:38:16.831" v="5864" actId="478"/>
          <ac:spMkLst>
            <pc:docMk/>
            <pc:sldMk cId="1986817877" sldId="2570"/>
            <ac:spMk id="73" creationId="{CEC6FA5D-3C74-907F-EA7F-7662AC91A328}"/>
          </ac:spMkLst>
        </pc:spChg>
        <pc:spChg chg="del">
          <ac:chgData name="JOSE ANTONIO ORDOÑEZ LUCENA" userId="ec8dd69b-01fe-4d41-a294-c2927b548e27" providerId="ADAL" clId="{91EEDD06-C1A4-414C-A964-FE3044749A60}" dt="2022-07-26T19:38:16.831" v="5864" actId="478"/>
          <ac:spMkLst>
            <pc:docMk/>
            <pc:sldMk cId="1986817877" sldId="2570"/>
            <ac:spMk id="74" creationId="{E9CFA89E-878C-3237-BAA5-4375616D66C0}"/>
          </ac:spMkLst>
        </pc:spChg>
        <pc:spChg chg="del">
          <ac:chgData name="JOSE ANTONIO ORDOÑEZ LUCENA" userId="ec8dd69b-01fe-4d41-a294-c2927b548e27" providerId="ADAL" clId="{91EEDD06-C1A4-414C-A964-FE3044749A60}" dt="2022-07-26T19:38:16.831" v="5864" actId="478"/>
          <ac:spMkLst>
            <pc:docMk/>
            <pc:sldMk cId="1986817877" sldId="2570"/>
            <ac:spMk id="75" creationId="{F15F772E-6D2B-01F2-B5B8-E636076BB455}"/>
          </ac:spMkLst>
        </pc:spChg>
        <pc:spChg chg="del">
          <ac:chgData name="JOSE ANTONIO ORDOÑEZ LUCENA" userId="ec8dd69b-01fe-4d41-a294-c2927b548e27" providerId="ADAL" clId="{91EEDD06-C1A4-414C-A964-FE3044749A60}" dt="2022-07-26T19:38:16.831" v="5864" actId="478"/>
          <ac:spMkLst>
            <pc:docMk/>
            <pc:sldMk cId="1986817877" sldId="2570"/>
            <ac:spMk id="76" creationId="{416F4B77-9B11-1D66-318A-FA77F1905815}"/>
          </ac:spMkLst>
        </pc:spChg>
        <pc:spChg chg="del">
          <ac:chgData name="JOSE ANTONIO ORDOÑEZ LUCENA" userId="ec8dd69b-01fe-4d41-a294-c2927b548e27" providerId="ADAL" clId="{91EEDD06-C1A4-414C-A964-FE3044749A60}" dt="2022-07-26T19:38:16.831" v="5864" actId="478"/>
          <ac:spMkLst>
            <pc:docMk/>
            <pc:sldMk cId="1986817877" sldId="2570"/>
            <ac:spMk id="77" creationId="{320DC25A-72F2-AFDF-315E-86B745CCDD97}"/>
          </ac:spMkLst>
        </pc:spChg>
        <pc:spChg chg="del">
          <ac:chgData name="JOSE ANTONIO ORDOÑEZ LUCENA" userId="ec8dd69b-01fe-4d41-a294-c2927b548e27" providerId="ADAL" clId="{91EEDD06-C1A4-414C-A964-FE3044749A60}" dt="2022-07-26T19:38:16.831" v="5864" actId="478"/>
          <ac:spMkLst>
            <pc:docMk/>
            <pc:sldMk cId="1986817877" sldId="2570"/>
            <ac:spMk id="78" creationId="{6EBB80EB-5BE7-2C91-8FB0-00CAEB0663B4}"/>
          </ac:spMkLst>
        </pc:spChg>
        <pc:spChg chg="del">
          <ac:chgData name="JOSE ANTONIO ORDOÑEZ LUCENA" userId="ec8dd69b-01fe-4d41-a294-c2927b548e27" providerId="ADAL" clId="{91EEDD06-C1A4-414C-A964-FE3044749A60}" dt="2022-07-26T19:38:16.831" v="5864" actId="478"/>
          <ac:spMkLst>
            <pc:docMk/>
            <pc:sldMk cId="1986817877" sldId="2570"/>
            <ac:spMk id="79" creationId="{470E23AC-FFC3-F071-9E9B-B95EFBA5E220}"/>
          </ac:spMkLst>
        </pc:spChg>
        <pc:spChg chg="del">
          <ac:chgData name="JOSE ANTONIO ORDOÑEZ LUCENA" userId="ec8dd69b-01fe-4d41-a294-c2927b548e27" providerId="ADAL" clId="{91EEDD06-C1A4-414C-A964-FE3044749A60}" dt="2022-07-26T19:38:16.831" v="5864" actId="478"/>
          <ac:spMkLst>
            <pc:docMk/>
            <pc:sldMk cId="1986817877" sldId="2570"/>
            <ac:spMk id="80" creationId="{D9A07F7B-B47B-A9FD-F008-2DA95564B51A}"/>
          </ac:spMkLst>
        </pc:spChg>
        <pc:spChg chg="del">
          <ac:chgData name="JOSE ANTONIO ORDOÑEZ LUCENA" userId="ec8dd69b-01fe-4d41-a294-c2927b548e27" providerId="ADAL" clId="{91EEDD06-C1A4-414C-A964-FE3044749A60}" dt="2022-07-26T19:38:16.831" v="5864" actId="478"/>
          <ac:spMkLst>
            <pc:docMk/>
            <pc:sldMk cId="1986817877" sldId="2570"/>
            <ac:spMk id="81" creationId="{EBE30BBB-CF73-6BF4-05B6-A1E2E1606DC9}"/>
          </ac:spMkLst>
        </pc:spChg>
        <pc:spChg chg="del">
          <ac:chgData name="JOSE ANTONIO ORDOÑEZ LUCENA" userId="ec8dd69b-01fe-4d41-a294-c2927b548e27" providerId="ADAL" clId="{91EEDD06-C1A4-414C-A964-FE3044749A60}" dt="2022-07-26T19:38:16.831" v="5864" actId="478"/>
          <ac:spMkLst>
            <pc:docMk/>
            <pc:sldMk cId="1986817877" sldId="2570"/>
            <ac:spMk id="82" creationId="{9CFF4EFD-A8B2-C9E1-A310-17507131591E}"/>
          </ac:spMkLst>
        </pc:spChg>
        <pc:spChg chg="del">
          <ac:chgData name="JOSE ANTONIO ORDOÑEZ LUCENA" userId="ec8dd69b-01fe-4d41-a294-c2927b548e27" providerId="ADAL" clId="{91EEDD06-C1A4-414C-A964-FE3044749A60}" dt="2022-07-26T19:38:16.831" v="5864" actId="478"/>
          <ac:spMkLst>
            <pc:docMk/>
            <pc:sldMk cId="1986817877" sldId="2570"/>
            <ac:spMk id="85" creationId="{EA6645C3-6BDD-188B-E733-C813B051D891}"/>
          </ac:spMkLst>
        </pc:spChg>
        <pc:spChg chg="del">
          <ac:chgData name="JOSE ANTONIO ORDOÑEZ LUCENA" userId="ec8dd69b-01fe-4d41-a294-c2927b548e27" providerId="ADAL" clId="{91EEDD06-C1A4-414C-A964-FE3044749A60}" dt="2022-07-26T19:38:16.831" v="5864" actId="478"/>
          <ac:spMkLst>
            <pc:docMk/>
            <pc:sldMk cId="1986817877" sldId="2570"/>
            <ac:spMk id="89" creationId="{21D64189-A7B1-94EC-7F88-7E345781F835}"/>
          </ac:spMkLst>
        </pc:spChg>
        <pc:spChg chg="del">
          <ac:chgData name="JOSE ANTONIO ORDOÑEZ LUCENA" userId="ec8dd69b-01fe-4d41-a294-c2927b548e27" providerId="ADAL" clId="{91EEDD06-C1A4-414C-A964-FE3044749A60}" dt="2022-07-26T19:38:16.831" v="5864" actId="478"/>
          <ac:spMkLst>
            <pc:docMk/>
            <pc:sldMk cId="1986817877" sldId="2570"/>
            <ac:spMk id="90" creationId="{FC1D5038-EBF8-7AD4-2902-C5E8843DEF28}"/>
          </ac:spMkLst>
        </pc:spChg>
        <pc:spChg chg="del">
          <ac:chgData name="JOSE ANTONIO ORDOÑEZ LUCENA" userId="ec8dd69b-01fe-4d41-a294-c2927b548e27" providerId="ADAL" clId="{91EEDD06-C1A4-414C-A964-FE3044749A60}" dt="2022-07-26T19:38:16.831" v="5864" actId="478"/>
          <ac:spMkLst>
            <pc:docMk/>
            <pc:sldMk cId="1986817877" sldId="2570"/>
            <ac:spMk id="91" creationId="{824EE3DE-F9F2-4CCE-3BAE-ECF0743498D3}"/>
          </ac:spMkLst>
        </pc:spChg>
        <pc:spChg chg="del">
          <ac:chgData name="JOSE ANTONIO ORDOÑEZ LUCENA" userId="ec8dd69b-01fe-4d41-a294-c2927b548e27" providerId="ADAL" clId="{91EEDD06-C1A4-414C-A964-FE3044749A60}" dt="2022-07-26T19:38:16.831" v="5864" actId="478"/>
          <ac:spMkLst>
            <pc:docMk/>
            <pc:sldMk cId="1986817877" sldId="2570"/>
            <ac:spMk id="92" creationId="{CAD8791C-040A-40E0-3CC4-066C8512E203}"/>
          </ac:spMkLst>
        </pc:spChg>
        <pc:spChg chg="del">
          <ac:chgData name="JOSE ANTONIO ORDOÑEZ LUCENA" userId="ec8dd69b-01fe-4d41-a294-c2927b548e27" providerId="ADAL" clId="{91EEDD06-C1A4-414C-A964-FE3044749A60}" dt="2022-07-26T19:38:16.831" v="5864" actId="478"/>
          <ac:spMkLst>
            <pc:docMk/>
            <pc:sldMk cId="1986817877" sldId="2570"/>
            <ac:spMk id="107" creationId="{70F44485-E384-B3DE-22FE-E5FD9A3A28C6}"/>
          </ac:spMkLst>
        </pc:spChg>
        <pc:spChg chg="del">
          <ac:chgData name="JOSE ANTONIO ORDOÑEZ LUCENA" userId="ec8dd69b-01fe-4d41-a294-c2927b548e27" providerId="ADAL" clId="{91EEDD06-C1A4-414C-A964-FE3044749A60}" dt="2022-07-26T19:38:16.831" v="5864" actId="478"/>
          <ac:spMkLst>
            <pc:docMk/>
            <pc:sldMk cId="1986817877" sldId="2570"/>
            <ac:spMk id="108" creationId="{C2D892E3-A434-2D01-36CD-D0DA48910699}"/>
          </ac:spMkLst>
        </pc:spChg>
        <pc:spChg chg="del">
          <ac:chgData name="JOSE ANTONIO ORDOÑEZ LUCENA" userId="ec8dd69b-01fe-4d41-a294-c2927b548e27" providerId="ADAL" clId="{91EEDD06-C1A4-414C-A964-FE3044749A60}" dt="2022-07-26T19:38:16.831" v="5864" actId="478"/>
          <ac:spMkLst>
            <pc:docMk/>
            <pc:sldMk cId="1986817877" sldId="2570"/>
            <ac:spMk id="109" creationId="{7B44E863-C68B-2AD0-B0FC-218771E31EA8}"/>
          </ac:spMkLst>
        </pc:spChg>
        <pc:spChg chg="del">
          <ac:chgData name="JOSE ANTONIO ORDOÑEZ LUCENA" userId="ec8dd69b-01fe-4d41-a294-c2927b548e27" providerId="ADAL" clId="{91EEDD06-C1A4-414C-A964-FE3044749A60}" dt="2022-07-26T19:38:16.831" v="5864" actId="478"/>
          <ac:spMkLst>
            <pc:docMk/>
            <pc:sldMk cId="1986817877" sldId="2570"/>
            <ac:spMk id="112" creationId="{05B425F6-A880-7FAC-F9B8-C296CFEF22CD}"/>
          </ac:spMkLst>
        </pc:spChg>
        <pc:spChg chg="del">
          <ac:chgData name="JOSE ANTONIO ORDOÑEZ LUCENA" userId="ec8dd69b-01fe-4d41-a294-c2927b548e27" providerId="ADAL" clId="{91EEDD06-C1A4-414C-A964-FE3044749A60}" dt="2022-07-26T19:38:16.831" v="5864" actId="478"/>
          <ac:spMkLst>
            <pc:docMk/>
            <pc:sldMk cId="1986817877" sldId="2570"/>
            <ac:spMk id="113" creationId="{695656D5-0008-9206-9DEE-FF8CA41EC999}"/>
          </ac:spMkLst>
        </pc:spChg>
        <pc:spChg chg="del">
          <ac:chgData name="JOSE ANTONIO ORDOÑEZ LUCENA" userId="ec8dd69b-01fe-4d41-a294-c2927b548e27" providerId="ADAL" clId="{91EEDD06-C1A4-414C-A964-FE3044749A60}" dt="2022-07-26T19:38:16.831" v="5864" actId="478"/>
          <ac:spMkLst>
            <pc:docMk/>
            <pc:sldMk cId="1986817877" sldId="2570"/>
            <ac:spMk id="114" creationId="{03449127-44F8-C57C-A8CC-F01990656F62}"/>
          </ac:spMkLst>
        </pc:spChg>
        <pc:spChg chg="del">
          <ac:chgData name="JOSE ANTONIO ORDOÑEZ LUCENA" userId="ec8dd69b-01fe-4d41-a294-c2927b548e27" providerId="ADAL" clId="{91EEDD06-C1A4-414C-A964-FE3044749A60}" dt="2022-07-26T19:38:16.831" v="5864" actId="478"/>
          <ac:spMkLst>
            <pc:docMk/>
            <pc:sldMk cId="1986817877" sldId="2570"/>
            <ac:spMk id="115" creationId="{02524EDA-8CA1-7FCA-28A8-BCF405016818}"/>
          </ac:spMkLst>
        </pc:spChg>
        <pc:spChg chg="del">
          <ac:chgData name="JOSE ANTONIO ORDOÑEZ LUCENA" userId="ec8dd69b-01fe-4d41-a294-c2927b548e27" providerId="ADAL" clId="{91EEDD06-C1A4-414C-A964-FE3044749A60}" dt="2022-07-26T19:38:16.831" v="5864" actId="478"/>
          <ac:spMkLst>
            <pc:docMk/>
            <pc:sldMk cId="1986817877" sldId="2570"/>
            <ac:spMk id="116" creationId="{7D47C7CF-3908-D13E-EEEF-6D37CA2617D4}"/>
          </ac:spMkLst>
        </pc:spChg>
        <pc:spChg chg="del">
          <ac:chgData name="JOSE ANTONIO ORDOÑEZ LUCENA" userId="ec8dd69b-01fe-4d41-a294-c2927b548e27" providerId="ADAL" clId="{91EEDD06-C1A4-414C-A964-FE3044749A60}" dt="2022-07-26T19:38:16.831" v="5864" actId="478"/>
          <ac:spMkLst>
            <pc:docMk/>
            <pc:sldMk cId="1986817877" sldId="2570"/>
            <ac:spMk id="117" creationId="{88E1F4CB-2249-F31F-0B27-D3623041D9A4}"/>
          </ac:spMkLst>
        </pc:spChg>
        <pc:spChg chg="del">
          <ac:chgData name="JOSE ANTONIO ORDOÑEZ LUCENA" userId="ec8dd69b-01fe-4d41-a294-c2927b548e27" providerId="ADAL" clId="{91EEDD06-C1A4-414C-A964-FE3044749A60}" dt="2022-07-26T19:38:16.831" v="5864" actId="478"/>
          <ac:spMkLst>
            <pc:docMk/>
            <pc:sldMk cId="1986817877" sldId="2570"/>
            <ac:spMk id="119" creationId="{F125FBFE-8DAD-13CC-BB52-3B57D135C63C}"/>
          </ac:spMkLst>
        </pc:spChg>
        <pc:spChg chg="del">
          <ac:chgData name="JOSE ANTONIO ORDOÑEZ LUCENA" userId="ec8dd69b-01fe-4d41-a294-c2927b548e27" providerId="ADAL" clId="{91EEDD06-C1A4-414C-A964-FE3044749A60}" dt="2022-07-26T19:38:16.831" v="5864" actId="478"/>
          <ac:spMkLst>
            <pc:docMk/>
            <pc:sldMk cId="1986817877" sldId="2570"/>
            <ac:spMk id="120" creationId="{E0488320-4296-DD54-B01D-898CA0AA0379}"/>
          </ac:spMkLst>
        </pc:spChg>
        <pc:spChg chg="del">
          <ac:chgData name="JOSE ANTONIO ORDOÑEZ LUCENA" userId="ec8dd69b-01fe-4d41-a294-c2927b548e27" providerId="ADAL" clId="{91EEDD06-C1A4-414C-A964-FE3044749A60}" dt="2022-07-26T19:38:16.831" v="5864" actId="478"/>
          <ac:spMkLst>
            <pc:docMk/>
            <pc:sldMk cId="1986817877" sldId="2570"/>
            <ac:spMk id="131" creationId="{F07F27C6-B017-5E49-1FB2-D0757A2F834E}"/>
          </ac:spMkLst>
        </pc:spChg>
        <pc:spChg chg="del">
          <ac:chgData name="JOSE ANTONIO ORDOÑEZ LUCENA" userId="ec8dd69b-01fe-4d41-a294-c2927b548e27" providerId="ADAL" clId="{91EEDD06-C1A4-414C-A964-FE3044749A60}" dt="2022-07-26T19:38:16.831" v="5864" actId="478"/>
          <ac:spMkLst>
            <pc:docMk/>
            <pc:sldMk cId="1986817877" sldId="2570"/>
            <ac:spMk id="132" creationId="{0F6E5546-B419-0217-F1B4-72C890137962}"/>
          </ac:spMkLst>
        </pc:spChg>
        <pc:spChg chg="del">
          <ac:chgData name="JOSE ANTONIO ORDOÑEZ LUCENA" userId="ec8dd69b-01fe-4d41-a294-c2927b548e27" providerId="ADAL" clId="{91EEDD06-C1A4-414C-A964-FE3044749A60}" dt="2022-07-26T19:38:16.831" v="5864" actId="478"/>
          <ac:spMkLst>
            <pc:docMk/>
            <pc:sldMk cId="1986817877" sldId="2570"/>
            <ac:spMk id="161" creationId="{55262381-21FD-999C-EE1A-4D128E83C21C}"/>
          </ac:spMkLst>
        </pc:spChg>
        <pc:spChg chg="del">
          <ac:chgData name="JOSE ANTONIO ORDOÑEZ LUCENA" userId="ec8dd69b-01fe-4d41-a294-c2927b548e27" providerId="ADAL" clId="{91EEDD06-C1A4-414C-A964-FE3044749A60}" dt="2022-07-26T19:38:16.831" v="5864" actId="478"/>
          <ac:spMkLst>
            <pc:docMk/>
            <pc:sldMk cId="1986817877" sldId="2570"/>
            <ac:spMk id="162" creationId="{80E3A41B-C81B-67A2-7D1E-8F157479C659}"/>
          </ac:spMkLst>
        </pc:spChg>
        <pc:spChg chg="del">
          <ac:chgData name="JOSE ANTONIO ORDOÑEZ LUCENA" userId="ec8dd69b-01fe-4d41-a294-c2927b548e27" providerId="ADAL" clId="{91EEDD06-C1A4-414C-A964-FE3044749A60}" dt="2022-07-26T19:38:16.831" v="5864" actId="478"/>
          <ac:spMkLst>
            <pc:docMk/>
            <pc:sldMk cId="1986817877" sldId="2570"/>
            <ac:spMk id="164" creationId="{99F6AA1B-FCCE-2D9C-9EDB-49B119A6BFEE}"/>
          </ac:spMkLst>
        </pc:spChg>
        <pc:spChg chg="del">
          <ac:chgData name="JOSE ANTONIO ORDOÑEZ LUCENA" userId="ec8dd69b-01fe-4d41-a294-c2927b548e27" providerId="ADAL" clId="{91EEDD06-C1A4-414C-A964-FE3044749A60}" dt="2022-07-26T19:38:16.831" v="5864" actId="478"/>
          <ac:spMkLst>
            <pc:docMk/>
            <pc:sldMk cId="1986817877" sldId="2570"/>
            <ac:spMk id="166" creationId="{3DF67284-194E-0C21-7865-29261DC7645C}"/>
          </ac:spMkLst>
        </pc:spChg>
        <pc:spChg chg="del">
          <ac:chgData name="JOSE ANTONIO ORDOÑEZ LUCENA" userId="ec8dd69b-01fe-4d41-a294-c2927b548e27" providerId="ADAL" clId="{91EEDD06-C1A4-414C-A964-FE3044749A60}" dt="2022-07-26T19:38:16.831" v="5864" actId="478"/>
          <ac:spMkLst>
            <pc:docMk/>
            <pc:sldMk cId="1986817877" sldId="2570"/>
            <ac:spMk id="173" creationId="{893304C7-DFE5-46B3-1599-90CBB045CC6C}"/>
          </ac:spMkLst>
        </pc:spChg>
        <pc:spChg chg="del">
          <ac:chgData name="JOSE ANTONIO ORDOÑEZ LUCENA" userId="ec8dd69b-01fe-4d41-a294-c2927b548e27" providerId="ADAL" clId="{91EEDD06-C1A4-414C-A964-FE3044749A60}" dt="2022-07-26T19:38:16.831" v="5864" actId="478"/>
          <ac:spMkLst>
            <pc:docMk/>
            <pc:sldMk cId="1986817877" sldId="2570"/>
            <ac:spMk id="243" creationId="{7FBEDA7C-D4BF-D2F7-379D-E9A0FD19BF3B}"/>
          </ac:spMkLst>
        </pc:spChg>
        <pc:spChg chg="del">
          <ac:chgData name="JOSE ANTONIO ORDOÑEZ LUCENA" userId="ec8dd69b-01fe-4d41-a294-c2927b548e27" providerId="ADAL" clId="{91EEDD06-C1A4-414C-A964-FE3044749A60}" dt="2022-07-26T19:38:16.831" v="5864" actId="478"/>
          <ac:spMkLst>
            <pc:docMk/>
            <pc:sldMk cId="1986817877" sldId="2570"/>
            <ac:spMk id="283" creationId="{0241B898-C61F-D362-0679-91B06C46358F}"/>
          </ac:spMkLst>
        </pc:spChg>
        <pc:graphicFrameChg chg="add mod modGraphic">
          <ac:chgData name="JOSE ANTONIO ORDOÑEZ LUCENA" userId="ec8dd69b-01fe-4d41-a294-c2927b548e27" providerId="ADAL" clId="{91EEDD06-C1A4-414C-A964-FE3044749A60}" dt="2022-08-01T13:18:30.553" v="25682" actId="14734"/>
          <ac:graphicFrameMkLst>
            <pc:docMk/>
            <pc:sldMk cId="1986817877" sldId="2570"/>
            <ac:graphicFrameMk id="8" creationId="{DB54715D-8848-26D6-2589-E6866AA2A49E}"/>
          </ac:graphicFrameMkLst>
        </pc:graphicFrameChg>
        <pc:cxnChg chg="del">
          <ac:chgData name="JOSE ANTONIO ORDOÑEZ LUCENA" userId="ec8dd69b-01fe-4d41-a294-c2927b548e27" providerId="ADAL" clId="{91EEDD06-C1A4-414C-A964-FE3044749A60}" dt="2022-07-26T19:38:16.831" v="5864" actId="478"/>
          <ac:cxnSpMkLst>
            <pc:docMk/>
            <pc:sldMk cId="1986817877" sldId="2570"/>
            <ac:cxnSpMk id="83" creationId="{AE057E12-C820-3BDF-F2D2-01C97040A578}"/>
          </ac:cxnSpMkLst>
        </pc:cxnChg>
        <pc:cxnChg chg="del mod">
          <ac:chgData name="JOSE ANTONIO ORDOÑEZ LUCENA" userId="ec8dd69b-01fe-4d41-a294-c2927b548e27" providerId="ADAL" clId="{91EEDD06-C1A4-414C-A964-FE3044749A60}" dt="2022-07-26T19:38:16.831" v="5864" actId="478"/>
          <ac:cxnSpMkLst>
            <pc:docMk/>
            <pc:sldMk cId="1986817877" sldId="2570"/>
            <ac:cxnSpMk id="84" creationId="{C60EC11F-A314-7459-64A1-FC05AD15C7F2}"/>
          </ac:cxnSpMkLst>
        </pc:cxnChg>
        <pc:cxnChg chg="del mod">
          <ac:chgData name="JOSE ANTONIO ORDOÑEZ LUCENA" userId="ec8dd69b-01fe-4d41-a294-c2927b548e27" providerId="ADAL" clId="{91EEDD06-C1A4-414C-A964-FE3044749A60}" dt="2022-07-26T19:38:16.831" v="5864" actId="478"/>
          <ac:cxnSpMkLst>
            <pc:docMk/>
            <pc:sldMk cId="1986817877" sldId="2570"/>
            <ac:cxnSpMk id="86" creationId="{B21F5470-8437-8577-A957-0056AB5CF771}"/>
          </ac:cxnSpMkLst>
        </pc:cxnChg>
        <pc:cxnChg chg="del mod">
          <ac:chgData name="JOSE ANTONIO ORDOÑEZ LUCENA" userId="ec8dd69b-01fe-4d41-a294-c2927b548e27" providerId="ADAL" clId="{91EEDD06-C1A4-414C-A964-FE3044749A60}" dt="2022-07-26T19:38:16.831" v="5864" actId="478"/>
          <ac:cxnSpMkLst>
            <pc:docMk/>
            <pc:sldMk cId="1986817877" sldId="2570"/>
            <ac:cxnSpMk id="87" creationId="{9AB71B49-A014-A8EC-1C7D-1CB38CFD7C45}"/>
          </ac:cxnSpMkLst>
        </pc:cxnChg>
        <pc:cxnChg chg="del mod">
          <ac:chgData name="JOSE ANTONIO ORDOÑEZ LUCENA" userId="ec8dd69b-01fe-4d41-a294-c2927b548e27" providerId="ADAL" clId="{91EEDD06-C1A4-414C-A964-FE3044749A60}" dt="2022-07-26T19:38:16.831" v="5864" actId="478"/>
          <ac:cxnSpMkLst>
            <pc:docMk/>
            <pc:sldMk cId="1986817877" sldId="2570"/>
            <ac:cxnSpMk id="88" creationId="{67A305CE-73B0-4EA7-A17E-14A067F28CA7}"/>
          </ac:cxnSpMkLst>
        </pc:cxnChg>
        <pc:cxnChg chg="del mod">
          <ac:chgData name="JOSE ANTONIO ORDOÑEZ LUCENA" userId="ec8dd69b-01fe-4d41-a294-c2927b548e27" providerId="ADAL" clId="{91EEDD06-C1A4-414C-A964-FE3044749A60}" dt="2022-07-26T19:38:16.831" v="5864" actId="478"/>
          <ac:cxnSpMkLst>
            <pc:docMk/>
            <pc:sldMk cId="1986817877" sldId="2570"/>
            <ac:cxnSpMk id="93" creationId="{BDEC5779-E8F9-A453-CCE5-CF11D15A7DD2}"/>
          </ac:cxnSpMkLst>
        </pc:cxnChg>
        <pc:cxnChg chg="del mod">
          <ac:chgData name="JOSE ANTONIO ORDOÑEZ LUCENA" userId="ec8dd69b-01fe-4d41-a294-c2927b548e27" providerId="ADAL" clId="{91EEDD06-C1A4-414C-A964-FE3044749A60}" dt="2022-07-26T19:38:16.831" v="5864" actId="478"/>
          <ac:cxnSpMkLst>
            <pc:docMk/>
            <pc:sldMk cId="1986817877" sldId="2570"/>
            <ac:cxnSpMk id="94" creationId="{1ABBFBED-E388-7377-A11D-EDB6950FD8F4}"/>
          </ac:cxnSpMkLst>
        </pc:cxnChg>
        <pc:cxnChg chg="del mod">
          <ac:chgData name="JOSE ANTONIO ORDOÑEZ LUCENA" userId="ec8dd69b-01fe-4d41-a294-c2927b548e27" providerId="ADAL" clId="{91EEDD06-C1A4-414C-A964-FE3044749A60}" dt="2022-07-26T19:38:16.831" v="5864" actId="478"/>
          <ac:cxnSpMkLst>
            <pc:docMk/>
            <pc:sldMk cId="1986817877" sldId="2570"/>
            <ac:cxnSpMk id="125" creationId="{4A7B6E38-F17D-D9A3-7915-F9F779DB1D77}"/>
          </ac:cxnSpMkLst>
        </pc:cxnChg>
        <pc:cxnChg chg="del mod">
          <ac:chgData name="JOSE ANTONIO ORDOÑEZ LUCENA" userId="ec8dd69b-01fe-4d41-a294-c2927b548e27" providerId="ADAL" clId="{91EEDD06-C1A4-414C-A964-FE3044749A60}" dt="2022-07-26T19:38:16.831" v="5864" actId="478"/>
          <ac:cxnSpMkLst>
            <pc:docMk/>
            <pc:sldMk cId="1986817877" sldId="2570"/>
            <ac:cxnSpMk id="134" creationId="{348BA3D7-31BE-77B6-A248-E25CB7237DAF}"/>
          </ac:cxnSpMkLst>
        </pc:cxnChg>
        <pc:cxnChg chg="del mod">
          <ac:chgData name="JOSE ANTONIO ORDOÑEZ LUCENA" userId="ec8dd69b-01fe-4d41-a294-c2927b548e27" providerId="ADAL" clId="{91EEDD06-C1A4-414C-A964-FE3044749A60}" dt="2022-07-26T19:38:16.831" v="5864" actId="478"/>
          <ac:cxnSpMkLst>
            <pc:docMk/>
            <pc:sldMk cId="1986817877" sldId="2570"/>
            <ac:cxnSpMk id="137" creationId="{EB22D3CE-60A9-2F44-1E4B-270CE5C66B76}"/>
          </ac:cxnSpMkLst>
        </pc:cxnChg>
        <pc:cxnChg chg="del mod">
          <ac:chgData name="JOSE ANTONIO ORDOÑEZ LUCENA" userId="ec8dd69b-01fe-4d41-a294-c2927b548e27" providerId="ADAL" clId="{91EEDD06-C1A4-414C-A964-FE3044749A60}" dt="2022-07-26T19:38:16.831" v="5864" actId="478"/>
          <ac:cxnSpMkLst>
            <pc:docMk/>
            <pc:sldMk cId="1986817877" sldId="2570"/>
            <ac:cxnSpMk id="168" creationId="{84FD3B97-4F39-DF8F-3472-C098D3407BAE}"/>
          </ac:cxnSpMkLst>
        </pc:cxnChg>
        <pc:cxnChg chg="del mod">
          <ac:chgData name="JOSE ANTONIO ORDOÑEZ LUCENA" userId="ec8dd69b-01fe-4d41-a294-c2927b548e27" providerId="ADAL" clId="{91EEDD06-C1A4-414C-A964-FE3044749A60}" dt="2022-07-26T19:38:16.831" v="5864" actId="478"/>
          <ac:cxnSpMkLst>
            <pc:docMk/>
            <pc:sldMk cId="1986817877" sldId="2570"/>
            <ac:cxnSpMk id="221" creationId="{42BA99DF-CF2E-21E2-D452-4BDA63F18469}"/>
          </ac:cxnSpMkLst>
        </pc:cxnChg>
        <pc:cxnChg chg="del">
          <ac:chgData name="JOSE ANTONIO ORDOÑEZ LUCENA" userId="ec8dd69b-01fe-4d41-a294-c2927b548e27" providerId="ADAL" clId="{91EEDD06-C1A4-414C-A964-FE3044749A60}" dt="2022-07-26T19:38:16.831" v="5864" actId="478"/>
          <ac:cxnSpMkLst>
            <pc:docMk/>
            <pc:sldMk cId="1986817877" sldId="2570"/>
            <ac:cxnSpMk id="233" creationId="{DB45211D-C17A-5445-4FE7-D2000245FF8F}"/>
          </ac:cxnSpMkLst>
        </pc:cxnChg>
        <pc:cxnChg chg="del">
          <ac:chgData name="JOSE ANTONIO ORDOÑEZ LUCENA" userId="ec8dd69b-01fe-4d41-a294-c2927b548e27" providerId="ADAL" clId="{91EEDD06-C1A4-414C-A964-FE3044749A60}" dt="2022-07-26T19:38:16.831" v="5864" actId="478"/>
          <ac:cxnSpMkLst>
            <pc:docMk/>
            <pc:sldMk cId="1986817877" sldId="2570"/>
            <ac:cxnSpMk id="236" creationId="{D526C31C-8974-7AEB-4999-EA71F2A4E07C}"/>
          </ac:cxnSpMkLst>
        </pc:cxnChg>
        <pc:cxnChg chg="del">
          <ac:chgData name="JOSE ANTONIO ORDOÑEZ LUCENA" userId="ec8dd69b-01fe-4d41-a294-c2927b548e27" providerId="ADAL" clId="{91EEDD06-C1A4-414C-A964-FE3044749A60}" dt="2022-07-26T19:38:16.831" v="5864" actId="478"/>
          <ac:cxnSpMkLst>
            <pc:docMk/>
            <pc:sldMk cId="1986817877" sldId="2570"/>
            <ac:cxnSpMk id="238" creationId="{6F9696A2-6237-2C11-073E-EDA7CCA3C907}"/>
          </ac:cxnSpMkLst>
        </pc:cxnChg>
        <pc:cxnChg chg="del mod">
          <ac:chgData name="JOSE ANTONIO ORDOÑEZ LUCENA" userId="ec8dd69b-01fe-4d41-a294-c2927b548e27" providerId="ADAL" clId="{91EEDD06-C1A4-414C-A964-FE3044749A60}" dt="2022-07-26T19:38:16.831" v="5864" actId="478"/>
          <ac:cxnSpMkLst>
            <pc:docMk/>
            <pc:sldMk cId="1986817877" sldId="2570"/>
            <ac:cxnSpMk id="254" creationId="{06310DA2-141A-64AE-D062-4AC7C5231379}"/>
          </ac:cxnSpMkLst>
        </pc:cxnChg>
        <pc:cxnChg chg="del">
          <ac:chgData name="JOSE ANTONIO ORDOÑEZ LUCENA" userId="ec8dd69b-01fe-4d41-a294-c2927b548e27" providerId="ADAL" clId="{91EEDD06-C1A4-414C-A964-FE3044749A60}" dt="2022-07-26T19:38:16.831" v="5864" actId="478"/>
          <ac:cxnSpMkLst>
            <pc:docMk/>
            <pc:sldMk cId="1986817877" sldId="2570"/>
            <ac:cxnSpMk id="272" creationId="{B8D45526-F4B4-94EC-E84C-CA663FEB3ED7}"/>
          </ac:cxnSpMkLst>
        </pc:cxnChg>
        <pc:cxnChg chg="del">
          <ac:chgData name="JOSE ANTONIO ORDOÑEZ LUCENA" userId="ec8dd69b-01fe-4d41-a294-c2927b548e27" providerId="ADAL" clId="{91EEDD06-C1A4-414C-A964-FE3044749A60}" dt="2022-07-26T19:38:16.831" v="5864" actId="478"/>
          <ac:cxnSpMkLst>
            <pc:docMk/>
            <pc:sldMk cId="1986817877" sldId="2570"/>
            <ac:cxnSpMk id="273" creationId="{D0DA99AA-01E5-5E8C-84A3-AA1C84726C4D}"/>
          </ac:cxnSpMkLst>
        </pc:cxnChg>
        <pc:cxnChg chg="del">
          <ac:chgData name="JOSE ANTONIO ORDOÑEZ LUCENA" userId="ec8dd69b-01fe-4d41-a294-c2927b548e27" providerId="ADAL" clId="{91EEDD06-C1A4-414C-A964-FE3044749A60}" dt="2022-07-26T19:38:16.831" v="5864" actId="478"/>
          <ac:cxnSpMkLst>
            <pc:docMk/>
            <pc:sldMk cId="1986817877" sldId="2570"/>
            <ac:cxnSpMk id="274" creationId="{95B141A8-034C-E044-E357-9FECCE488DB2}"/>
          </ac:cxnSpMkLst>
        </pc:cxnChg>
      </pc:sldChg>
      <pc:sldChg chg="addSp delSp modSp add del mod">
        <pc:chgData name="JOSE ANTONIO ORDOÑEZ LUCENA" userId="ec8dd69b-01fe-4d41-a294-c2927b548e27" providerId="ADAL" clId="{91EEDD06-C1A4-414C-A964-FE3044749A60}" dt="2022-07-27T07:33:08.944" v="21690" actId="2696"/>
        <pc:sldMkLst>
          <pc:docMk/>
          <pc:sldMk cId="2086302100" sldId="2571"/>
        </pc:sldMkLst>
        <pc:spChg chg="mod">
          <ac:chgData name="JOSE ANTONIO ORDOÑEZ LUCENA" userId="ec8dd69b-01fe-4d41-a294-c2927b548e27" providerId="ADAL" clId="{91EEDD06-C1A4-414C-A964-FE3044749A60}" dt="2022-07-26T20:08:17.914" v="9900" actId="113"/>
          <ac:spMkLst>
            <pc:docMk/>
            <pc:sldMk cId="2086302100" sldId="2571"/>
            <ac:spMk id="2" creationId="{2B73D7CB-E55B-ED4D-A567-274B625D4CEF}"/>
          </ac:spMkLst>
        </pc:spChg>
        <pc:spChg chg="add mod">
          <ac:chgData name="JOSE ANTONIO ORDOÑEZ LUCENA" userId="ec8dd69b-01fe-4d41-a294-c2927b548e27" providerId="ADAL" clId="{91EEDD06-C1A4-414C-A964-FE3044749A60}" dt="2022-07-26T20:55:41.641" v="13803" actId="1076"/>
          <ac:spMkLst>
            <pc:docMk/>
            <pc:sldMk cId="2086302100" sldId="2571"/>
            <ac:spMk id="6" creationId="{F512B54F-D54A-01B4-EF57-61990FE3001A}"/>
          </ac:spMkLst>
        </pc:spChg>
        <pc:spChg chg="mod">
          <ac:chgData name="JOSE ANTONIO ORDOÑEZ LUCENA" userId="ec8dd69b-01fe-4d41-a294-c2927b548e27" providerId="ADAL" clId="{91EEDD06-C1A4-414C-A964-FE3044749A60}" dt="2022-07-26T20:45:03.876" v="13117" actId="20577"/>
          <ac:spMkLst>
            <pc:docMk/>
            <pc:sldMk cId="2086302100" sldId="2571"/>
            <ac:spMk id="7" creationId="{DC9E7C19-54DD-2FE2-245C-9310DE829FB1}"/>
          </ac:spMkLst>
        </pc:spChg>
        <pc:graphicFrameChg chg="add del mod modGraphic">
          <ac:chgData name="JOSE ANTONIO ORDOÑEZ LUCENA" userId="ec8dd69b-01fe-4d41-a294-c2927b548e27" providerId="ADAL" clId="{91EEDD06-C1A4-414C-A964-FE3044749A60}" dt="2022-07-26T20:43:58.752" v="13018" actId="2161"/>
          <ac:graphicFrameMkLst>
            <pc:docMk/>
            <pc:sldMk cId="2086302100" sldId="2571"/>
            <ac:graphicFrameMk id="3" creationId="{C12BAD5B-E214-256F-42D3-70879BB4F6C3}"/>
          </ac:graphicFrameMkLst>
        </pc:graphicFrameChg>
        <pc:graphicFrameChg chg="mod modGraphic">
          <ac:chgData name="JOSE ANTONIO ORDOÑEZ LUCENA" userId="ec8dd69b-01fe-4d41-a294-c2927b548e27" providerId="ADAL" clId="{91EEDD06-C1A4-414C-A964-FE3044749A60}" dt="2022-07-26T20:56:11.048" v="13835" actId="20577"/>
          <ac:graphicFrameMkLst>
            <pc:docMk/>
            <pc:sldMk cId="2086302100" sldId="2571"/>
            <ac:graphicFrameMk id="8" creationId="{DB54715D-8848-26D6-2589-E6866AA2A49E}"/>
          </ac:graphicFrameMkLst>
        </pc:graphicFrameChg>
      </pc:sldChg>
      <pc:sldChg chg="delSp modSp add mod">
        <pc:chgData name="JOSE ANTONIO ORDOÑEZ LUCENA" userId="ec8dd69b-01fe-4d41-a294-c2927b548e27" providerId="ADAL" clId="{91EEDD06-C1A4-414C-A964-FE3044749A60}" dt="2022-08-01T13:25:45.622" v="25683" actId="13926"/>
        <pc:sldMkLst>
          <pc:docMk/>
          <pc:sldMk cId="68282060" sldId="2572"/>
        </pc:sldMkLst>
        <pc:spChg chg="mod">
          <ac:chgData name="JOSE ANTONIO ORDOÑEZ LUCENA" userId="ec8dd69b-01fe-4d41-a294-c2927b548e27" providerId="ADAL" clId="{91EEDD06-C1A4-414C-A964-FE3044749A60}" dt="2022-07-27T06:26:09.225" v="14266" actId="20577"/>
          <ac:spMkLst>
            <pc:docMk/>
            <pc:sldMk cId="68282060" sldId="2572"/>
            <ac:spMk id="2" creationId="{2B73D7CB-E55B-ED4D-A567-274B625D4CEF}"/>
          </ac:spMkLst>
        </pc:spChg>
        <pc:spChg chg="del mod">
          <ac:chgData name="JOSE ANTONIO ORDOÑEZ LUCENA" userId="ec8dd69b-01fe-4d41-a294-c2927b548e27" providerId="ADAL" clId="{91EEDD06-C1A4-414C-A964-FE3044749A60}" dt="2022-07-26T20:36:04.252" v="12904" actId="478"/>
          <ac:spMkLst>
            <pc:docMk/>
            <pc:sldMk cId="68282060" sldId="2572"/>
            <ac:spMk id="6" creationId="{F512B54F-D54A-01B4-EF57-61990FE3001A}"/>
          </ac:spMkLst>
        </pc:spChg>
        <pc:spChg chg="mod">
          <ac:chgData name="JOSE ANTONIO ORDOÑEZ LUCENA" userId="ec8dd69b-01fe-4d41-a294-c2927b548e27" providerId="ADAL" clId="{91EEDD06-C1A4-414C-A964-FE3044749A60}" dt="2022-08-01T13:25:45.622" v="25683" actId="13926"/>
          <ac:spMkLst>
            <pc:docMk/>
            <pc:sldMk cId="68282060" sldId="2572"/>
            <ac:spMk id="7" creationId="{DC9E7C19-54DD-2FE2-245C-9310DE829FB1}"/>
          </ac:spMkLst>
        </pc:spChg>
        <pc:graphicFrameChg chg="del">
          <ac:chgData name="JOSE ANTONIO ORDOÑEZ LUCENA" userId="ec8dd69b-01fe-4d41-a294-c2927b548e27" providerId="ADAL" clId="{91EEDD06-C1A4-414C-A964-FE3044749A60}" dt="2022-07-26T20:35:58.262" v="12901" actId="478"/>
          <ac:graphicFrameMkLst>
            <pc:docMk/>
            <pc:sldMk cId="68282060" sldId="2572"/>
            <ac:graphicFrameMk id="3" creationId="{C12BAD5B-E214-256F-42D3-70879BB4F6C3}"/>
          </ac:graphicFrameMkLst>
        </pc:graphicFrameChg>
        <pc:graphicFrameChg chg="del">
          <ac:chgData name="JOSE ANTONIO ORDOÑEZ LUCENA" userId="ec8dd69b-01fe-4d41-a294-c2927b548e27" providerId="ADAL" clId="{91EEDD06-C1A4-414C-A964-FE3044749A60}" dt="2022-07-26T20:36:01.031" v="12902" actId="478"/>
          <ac:graphicFrameMkLst>
            <pc:docMk/>
            <pc:sldMk cId="68282060" sldId="2572"/>
            <ac:graphicFrameMk id="8" creationId="{DB54715D-8848-26D6-2589-E6866AA2A49E}"/>
          </ac:graphicFrameMkLst>
        </pc:graphicFrameChg>
      </pc:sldChg>
      <pc:sldChg chg="addSp delSp modSp add mod addCm">
        <pc:chgData name="JOSE ANTONIO ORDOÑEZ LUCENA" userId="ec8dd69b-01fe-4d41-a294-c2927b548e27" providerId="ADAL" clId="{91EEDD06-C1A4-414C-A964-FE3044749A60}" dt="2022-08-01T13:10:24.424" v="25680" actId="14734"/>
        <pc:sldMkLst>
          <pc:docMk/>
          <pc:sldMk cId="1411109031" sldId="2573"/>
        </pc:sldMkLst>
        <pc:spChg chg="mod">
          <ac:chgData name="JOSE ANTONIO ORDOÑEZ LUCENA" userId="ec8dd69b-01fe-4d41-a294-c2927b548e27" providerId="ADAL" clId="{91EEDD06-C1A4-414C-A964-FE3044749A60}" dt="2022-07-27T06:30:53.310" v="15119" actId="20577"/>
          <ac:spMkLst>
            <pc:docMk/>
            <pc:sldMk cId="1411109031" sldId="2573"/>
            <ac:spMk id="6" creationId="{F512B54F-D54A-01B4-EF57-61990FE3001A}"/>
          </ac:spMkLst>
        </pc:spChg>
        <pc:spChg chg="del mod">
          <ac:chgData name="JOSE ANTONIO ORDOÑEZ LUCENA" userId="ec8dd69b-01fe-4d41-a294-c2927b548e27" providerId="ADAL" clId="{91EEDD06-C1A4-414C-A964-FE3044749A60}" dt="2022-07-27T06:20:50.875" v="13840" actId="478"/>
          <ac:spMkLst>
            <pc:docMk/>
            <pc:sldMk cId="1411109031" sldId="2573"/>
            <ac:spMk id="7" creationId="{DC9E7C19-54DD-2FE2-245C-9310DE829FB1}"/>
          </ac:spMkLst>
        </pc:spChg>
        <pc:spChg chg="add del mod">
          <ac:chgData name="JOSE ANTONIO ORDOÑEZ LUCENA" userId="ec8dd69b-01fe-4d41-a294-c2927b548e27" providerId="ADAL" clId="{91EEDD06-C1A4-414C-A964-FE3044749A60}" dt="2022-07-27T06:21:28.770" v="13845"/>
          <ac:spMkLst>
            <pc:docMk/>
            <pc:sldMk cId="1411109031" sldId="2573"/>
            <ac:spMk id="9" creationId="{09B69D42-95BE-5167-6EE7-62B8CCA6EE5C}"/>
          </ac:spMkLst>
        </pc:spChg>
        <pc:spChg chg="add del mod">
          <ac:chgData name="JOSE ANTONIO ORDOÑEZ LUCENA" userId="ec8dd69b-01fe-4d41-a294-c2927b548e27" providerId="ADAL" clId="{91EEDD06-C1A4-414C-A964-FE3044749A60}" dt="2022-07-27T06:21:28.770" v="13845"/>
          <ac:spMkLst>
            <pc:docMk/>
            <pc:sldMk cId="1411109031" sldId="2573"/>
            <ac:spMk id="10" creationId="{F04EFA88-1359-C25C-4958-A6397497A73F}"/>
          </ac:spMkLst>
        </pc:spChg>
        <pc:spChg chg="add del mod">
          <ac:chgData name="JOSE ANTONIO ORDOÑEZ LUCENA" userId="ec8dd69b-01fe-4d41-a294-c2927b548e27" providerId="ADAL" clId="{91EEDD06-C1A4-414C-A964-FE3044749A60}" dt="2022-07-27T06:21:28.770" v="13845"/>
          <ac:spMkLst>
            <pc:docMk/>
            <pc:sldMk cId="1411109031" sldId="2573"/>
            <ac:spMk id="11" creationId="{1A14FECB-59D9-0843-1DB0-565C66CD6311}"/>
          </ac:spMkLst>
        </pc:spChg>
        <pc:spChg chg="add del mod">
          <ac:chgData name="JOSE ANTONIO ORDOÑEZ LUCENA" userId="ec8dd69b-01fe-4d41-a294-c2927b548e27" providerId="ADAL" clId="{91EEDD06-C1A4-414C-A964-FE3044749A60}" dt="2022-07-27T06:21:28.770" v="13845"/>
          <ac:spMkLst>
            <pc:docMk/>
            <pc:sldMk cId="1411109031" sldId="2573"/>
            <ac:spMk id="12" creationId="{F547DC83-AC63-4E31-449C-27F1FA61780E}"/>
          </ac:spMkLst>
        </pc:spChg>
        <pc:spChg chg="add del mod">
          <ac:chgData name="JOSE ANTONIO ORDOÑEZ LUCENA" userId="ec8dd69b-01fe-4d41-a294-c2927b548e27" providerId="ADAL" clId="{91EEDD06-C1A4-414C-A964-FE3044749A60}" dt="2022-07-27T06:21:28.770" v="13845"/>
          <ac:spMkLst>
            <pc:docMk/>
            <pc:sldMk cId="1411109031" sldId="2573"/>
            <ac:spMk id="13" creationId="{81C16E3C-AAEB-EF57-81A5-29D617AFBF38}"/>
          </ac:spMkLst>
        </pc:spChg>
        <pc:spChg chg="add del mod">
          <ac:chgData name="JOSE ANTONIO ORDOÑEZ LUCENA" userId="ec8dd69b-01fe-4d41-a294-c2927b548e27" providerId="ADAL" clId="{91EEDD06-C1A4-414C-A964-FE3044749A60}" dt="2022-07-27T06:21:28.770" v="13845"/>
          <ac:spMkLst>
            <pc:docMk/>
            <pc:sldMk cId="1411109031" sldId="2573"/>
            <ac:spMk id="14" creationId="{9534735A-2488-9BE5-DEB5-7861EE84E726}"/>
          </ac:spMkLst>
        </pc:spChg>
        <pc:spChg chg="add del mod">
          <ac:chgData name="JOSE ANTONIO ORDOÑEZ LUCENA" userId="ec8dd69b-01fe-4d41-a294-c2927b548e27" providerId="ADAL" clId="{91EEDD06-C1A4-414C-A964-FE3044749A60}" dt="2022-07-27T06:21:28.770" v="13845"/>
          <ac:spMkLst>
            <pc:docMk/>
            <pc:sldMk cId="1411109031" sldId="2573"/>
            <ac:spMk id="15" creationId="{3C631935-B48B-CB8F-BDAC-04EF95A2955C}"/>
          </ac:spMkLst>
        </pc:spChg>
        <pc:spChg chg="add del mod">
          <ac:chgData name="JOSE ANTONIO ORDOÑEZ LUCENA" userId="ec8dd69b-01fe-4d41-a294-c2927b548e27" providerId="ADAL" clId="{91EEDD06-C1A4-414C-A964-FE3044749A60}" dt="2022-07-27T06:21:28.770" v="13845"/>
          <ac:spMkLst>
            <pc:docMk/>
            <pc:sldMk cId="1411109031" sldId="2573"/>
            <ac:spMk id="16" creationId="{83AC8F30-3E22-6EC2-4C64-75959D37AA74}"/>
          </ac:spMkLst>
        </pc:spChg>
        <pc:spChg chg="add del mod">
          <ac:chgData name="JOSE ANTONIO ORDOÑEZ LUCENA" userId="ec8dd69b-01fe-4d41-a294-c2927b548e27" providerId="ADAL" clId="{91EEDD06-C1A4-414C-A964-FE3044749A60}" dt="2022-07-27T06:21:28.770" v="13845"/>
          <ac:spMkLst>
            <pc:docMk/>
            <pc:sldMk cId="1411109031" sldId="2573"/>
            <ac:spMk id="17" creationId="{9E7E8534-47B6-ECC7-DDB6-54AA93DE7F4C}"/>
          </ac:spMkLst>
        </pc:spChg>
        <pc:spChg chg="add del mod">
          <ac:chgData name="JOSE ANTONIO ORDOÑEZ LUCENA" userId="ec8dd69b-01fe-4d41-a294-c2927b548e27" providerId="ADAL" clId="{91EEDD06-C1A4-414C-A964-FE3044749A60}" dt="2022-07-27T06:21:28.770" v="13845"/>
          <ac:spMkLst>
            <pc:docMk/>
            <pc:sldMk cId="1411109031" sldId="2573"/>
            <ac:spMk id="18" creationId="{F85B89FF-EEDF-771A-DF34-8800109E52ED}"/>
          </ac:spMkLst>
        </pc:spChg>
        <pc:spChg chg="add del mod">
          <ac:chgData name="JOSE ANTONIO ORDOÑEZ LUCENA" userId="ec8dd69b-01fe-4d41-a294-c2927b548e27" providerId="ADAL" clId="{91EEDD06-C1A4-414C-A964-FE3044749A60}" dt="2022-07-27T06:21:28.770" v="13845"/>
          <ac:spMkLst>
            <pc:docMk/>
            <pc:sldMk cId="1411109031" sldId="2573"/>
            <ac:spMk id="19" creationId="{5A9E5BCA-3F1F-EB1F-CA9D-31DB4BB1A346}"/>
          </ac:spMkLst>
        </pc:spChg>
        <pc:spChg chg="add del mod">
          <ac:chgData name="JOSE ANTONIO ORDOÑEZ LUCENA" userId="ec8dd69b-01fe-4d41-a294-c2927b548e27" providerId="ADAL" clId="{91EEDD06-C1A4-414C-A964-FE3044749A60}" dt="2022-07-27T06:21:28.770" v="13845"/>
          <ac:spMkLst>
            <pc:docMk/>
            <pc:sldMk cId="1411109031" sldId="2573"/>
            <ac:spMk id="21" creationId="{54D27019-1FFC-0A14-DE6C-264199D48C4B}"/>
          </ac:spMkLst>
        </pc:spChg>
        <pc:spChg chg="add del mod">
          <ac:chgData name="JOSE ANTONIO ORDOÑEZ LUCENA" userId="ec8dd69b-01fe-4d41-a294-c2927b548e27" providerId="ADAL" clId="{91EEDD06-C1A4-414C-A964-FE3044749A60}" dt="2022-07-27T06:21:28.770" v="13845"/>
          <ac:spMkLst>
            <pc:docMk/>
            <pc:sldMk cId="1411109031" sldId="2573"/>
            <ac:spMk id="22" creationId="{84DB8E32-4DB8-1B85-265D-5F882A66C099}"/>
          </ac:spMkLst>
        </pc:spChg>
        <pc:spChg chg="add del mod">
          <ac:chgData name="JOSE ANTONIO ORDOÑEZ LUCENA" userId="ec8dd69b-01fe-4d41-a294-c2927b548e27" providerId="ADAL" clId="{91EEDD06-C1A4-414C-A964-FE3044749A60}" dt="2022-07-27T06:21:28.770" v="13845"/>
          <ac:spMkLst>
            <pc:docMk/>
            <pc:sldMk cId="1411109031" sldId="2573"/>
            <ac:spMk id="25" creationId="{3D3C5144-4E32-B51C-E031-67979798A918}"/>
          </ac:spMkLst>
        </pc:spChg>
        <pc:spChg chg="add del mod">
          <ac:chgData name="JOSE ANTONIO ORDOÑEZ LUCENA" userId="ec8dd69b-01fe-4d41-a294-c2927b548e27" providerId="ADAL" clId="{91EEDD06-C1A4-414C-A964-FE3044749A60}" dt="2022-07-27T06:21:28.770" v="13845"/>
          <ac:spMkLst>
            <pc:docMk/>
            <pc:sldMk cId="1411109031" sldId="2573"/>
            <ac:spMk id="26" creationId="{695877CE-E879-2AEA-C246-4C0DD62C4007}"/>
          </ac:spMkLst>
        </pc:spChg>
        <pc:spChg chg="add del mod">
          <ac:chgData name="JOSE ANTONIO ORDOÑEZ LUCENA" userId="ec8dd69b-01fe-4d41-a294-c2927b548e27" providerId="ADAL" clId="{91EEDD06-C1A4-414C-A964-FE3044749A60}" dt="2022-07-27T06:21:28.770" v="13845"/>
          <ac:spMkLst>
            <pc:docMk/>
            <pc:sldMk cId="1411109031" sldId="2573"/>
            <ac:spMk id="27" creationId="{EED953E4-409F-E8BF-9860-F78A742BE173}"/>
          </ac:spMkLst>
        </pc:spChg>
        <pc:spChg chg="add del mod">
          <ac:chgData name="JOSE ANTONIO ORDOÑEZ LUCENA" userId="ec8dd69b-01fe-4d41-a294-c2927b548e27" providerId="ADAL" clId="{91EEDD06-C1A4-414C-A964-FE3044749A60}" dt="2022-07-27T06:21:28.770" v="13845"/>
          <ac:spMkLst>
            <pc:docMk/>
            <pc:sldMk cId="1411109031" sldId="2573"/>
            <ac:spMk id="28" creationId="{EF0B1CAF-7101-F543-54FF-893781CBFA43}"/>
          </ac:spMkLst>
        </pc:spChg>
        <pc:spChg chg="add del mod">
          <ac:chgData name="JOSE ANTONIO ORDOÑEZ LUCENA" userId="ec8dd69b-01fe-4d41-a294-c2927b548e27" providerId="ADAL" clId="{91EEDD06-C1A4-414C-A964-FE3044749A60}" dt="2022-07-27T06:21:28.770" v="13845"/>
          <ac:spMkLst>
            <pc:docMk/>
            <pc:sldMk cId="1411109031" sldId="2573"/>
            <ac:spMk id="30" creationId="{78F809FA-4F02-A00F-DA0D-217A5E79DF6F}"/>
          </ac:spMkLst>
        </pc:spChg>
        <pc:spChg chg="add del mod">
          <ac:chgData name="JOSE ANTONIO ORDOÑEZ LUCENA" userId="ec8dd69b-01fe-4d41-a294-c2927b548e27" providerId="ADAL" clId="{91EEDD06-C1A4-414C-A964-FE3044749A60}" dt="2022-07-27T06:21:28.770" v="13845"/>
          <ac:spMkLst>
            <pc:docMk/>
            <pc:sldMk cId="1411109031" sldId="2573"/>
            <ac:spMk id="35" creationId="{C395EE3C-06D1-F1A8-53C2-10A266EC23F7}"/>
          </ac:spMkLst>
        </pc:spChg>
        <pc:spChg chg="add del mod">
          <ac:chgData name="JOSE ANTONIO ORDOÑEZ LUCENA" userId="ec8dd69b-01fe-4d41-a294-c2927b548e27" providerId="ADAL" clId="{91EEDD06-C1A4-414C-A964-FE3044749A60}" dt="2022-07-27T06:21:28.770" v="13845"/>
          <ac:spMkLst>
            <pc:docMk/>
            <pc:sldMk cId="1411109031" sldId="2573"/>
            <ac:spMk id="40" creationId="{015AAD7F-701D-27D5-CB38-4A7F008199B7}"/>
          </ac:spMkLst>
        </pc:spChg>
        <pc:spChg chg="add del mod">
          <ac:chgData name="JOSE ANTONIO ORDOÑEZ LUCENA" userId="ec8dd69b-01fe-4d41-a294-c2927b548e27" providerId="ADAL" clId="{91EEDD06-C1A4-414C-A964-FE3044749A60}" dt="2022-07-27T06:21:33.409" v="13847"/>
          <ac:spMkLst>
            <pc:docMk/>
            <pc:sldMk cId="1411109031" sldId="2573"/>
            <ac:spMk id="41" creationId="{EFECB52E-7BC6-52EE-08C3-EBF6AA2A91EC}"/>
          </ac:spMkLst>
        </pc:spChg>
        <pc:spChg chg="add del mod">
          <ac:chgData name="JOSE ANTONIO ORDOÑEZ LUCENA" userId="ec8dd69b-01fe-4d41-a294-c2927b548e27" providerId="ADAL" clId="{91EEDD06-C1A4-414C-A964-FE3044749A60}" dt="2022-07-27T06:21:33.409" v="13847"/>
          <ac:spMkLst>
            <pc:docMk/>
            <pc:sldMk cId="1411109031" sldId="2573"/>
            <ac:spMk id="42" creationId="{AEF80C84-66B7-ABC0-9EB7-E37492F4D933}"/>
          </ac:spMkLst>
        </pc:spChg>
        <pc:spChg chg="add del mod">
          <ac:chgData name="JOSE ANTONIO ORDOÑEZ LUCENA" userId="ec8dd69b-01fe-4d41-a294-c2927b548e27" providerId="ADAL" clId="{91EEDD06-C1A4-414C-A964-FE3044749A60}" dt="2022-07-27T06:21:33.409" v="13847"/>
          <ac:spMkLst>
            <pc:docMk/>
            <pc:sldMk cId="1411109031" sldId="2573"/>
            <ac:spMk id="43" creationId="{494FF634-D6E6-B273-0681-ED16E164E8D2}"/>
          </ac:spMkLst>
        </pc:spChg>
        <pc:spChg chg="add del mod">
          <ac:chgData name="JOSE ANTONIO ORDOÑEZ LUCENA" userId="ec8dd69b-01fe-4d41-a294-c2927b548e27" providerId="ADAL" clId="{91EEDD06-C1A4-414C-A964-FE3044749A60}" dt="2022-07-27T06:21:33.409" v="13847"/>
          <ac:spMkLst>
            <pc:docMk/>
            <pc:sldMk cId="1411109031" sldId="2573"/>
            <ac:spMk id="44" creationId="{5B4D402B-6604-64D4-B52D-1A00F78471B6}"/>
          </ac:spMkLst>
        </pc:spChg>
        <pc:spChg chg="add del mod">
          <ac:chgData name="JOSE ANTONIO ORDOÑEZ LUCENA" userId="ec8dd69b-01fe-4d41-a294-c2927b548e27" providerId="ADAL" clId="{91EEDD06-C1A4-414C-A964-FE3044749A60}" dt="2022-07-27T06:21:33.409" v="13847"/>
          <ac:spMkLst>
            <pc:docMk/>
            <pc:sldMk cId="1411109031" sldId="2573"/>
            <ac:spMk id="45" creationId="{47972A6B-E901-4171-CD2A-7B9C2FE408B0}"/>
          </ac:spMkLst>
        </pc:spChg>
        <pc:spChg chg="add del mod">
          <ac:chgData name="JOSE ANTONIO ORDOÑEZ LUCENA" userId="ec8dd69b-01fe-4d41-a294-c2927b548e27" providerId="ADAL" clId="{91EEDD06-C1A4-414C-A964-FE3044749A60}" dt="2022-07-27T06:21:33.409" v="13847"/>
          <ac:spMkLst>
            <pc:docMk/>
            <pc:sldMk cId="1411109031" sldId="2573"/>
            <ac:spMk id="46" creationId="{9A61C6E2-0F24-3CF0-09FE-DC9A7AE7B2C6}"/>
          </ac:spMkLst>
        </pc:spChg>
        <pc:spChg chg="add del mod">
          <ac:chgData name="JOSE ANTONIO ORDOÑEZ LUCENA" userId="ec8dd69b-01fe-4d41-a294-c2927b548e27" providerId="ADAL" clId="{91EEDD06-C1A4-414C-A964-FE3044749A60}" dt="2022-07-27T06:21:33.409" v="13847"/>
          <ac:spMkLst>
            <pc:docMk/>
            <pc:sldMk cId="1411109031" sldId="2573"/>
            <ac:spMk id="47" creationId="{11670595-25C2-5F89-9FBC-6C4779FB2BA9}"/>
          </ac:spMkLst>
        </pc:spChg>
        <pc:spChg chg="add del mod">
          <ac:chgData name="JOSE ANTONIO ORDOÑEZ LUCENA" userId="ec8dd69b-01fe-4d41-a294-c2927b548e27" providerId="ADAL" clId="{91EEDD06-C1A4-414C-A964-FE3044749A60}" dt="2022-07-27T06:21:33.409" v="13847"/>
          <ac:spMkLst>
            <pc:docMk/>
            <pc:sldMk cId="1411109031" sldId="2573"/>
            <ac:spMk id="48" creationId="{E261B45A-9B24-8479-A442-FF680A3D329A}"/>
          </ac:spMkLst>
        </pc:spChg>
        <pc:spChg chg="add del mod">
          <ac:chgData name="JOSE ANTONIO ORDOÑEZ LUCENA" userId="ec8dd69b-01fe-4d41-a294-c2927b548e27" providerId="ADAL" clId="{91EEDD06-C1A4-414C-A964-FE3044749A60}" dt="2022-07-27T06:21:33.409" v="13847"/>
          <ac:spMkLst>
            <pc:docMk/>
            <pc:sldMk cId="1411109031" sldId="2573"/>
            <ac:spMk id="49" creationId="{66A4D90F-5481-2C79-5091-1D5612FAA79B}"/>
          </ac:spMkLst>
        </pc:spChg>
        <pc:spChg chg="add del mod">
          <ac:chgData name="JOSE ANTONIO ORDOÑEZ LUCENA" userId="ec8dd69b-01fe-4d41-a294-c2927b548e27" providerId="ADAL" clId="{91EEDD06-C1A4-414C-A964-FE3044749A60}" dt="2022-07-27T06:21:33.409" v="13847"/>
          <ac:spMkLst>
            <pc:docMk/>
            <pc:sldMk cId="1411109031" sldId="2573"/>
            <ac:spMk id="50" creationId="{97310D6E-41F7-3959-60A2-C23406BFD337}"/>
          </ac:spMkLst>
        </pc:spChg>
        <pc:spChg chg="add del mod">
          <ac:chgData name="JOSE ANTONIO ORDOÑEZ LUCENA" userId="ec8dd69b-01fe-4d41-a294-c2927b548e27" providerId="ADAL" clId="{91EEDD06-C1A4-414C-A964-FE3044749A60}" dt="2022-07-27T06:21:33.409" v="13847"/>
          <ac:spMkLst>
            <pc:docMk/>
            <pc:sldMk cId="1411109031" sldId="2573"/>
            <ac:spMk id="52" creationId="{EB8C28DE-98CF-11AE-9FF3-C7264338E1CA}"/>
          </ac:spMkLst>
        </pc:spChg>
        <pc:spChg chg="add del mod">
          <ac:chgData name="JOSE ANTONIO ORDOÑEZ LUCENA" userId="ec8dd69b-01fe-4d41-a294-c2927b548e27" providerId="ADAL" clId="{91EEDD06-C1A4-414C-A964-FE3044749A60}" dt="2022-07-27T06:21:33.409" v="13847"/>
          <ac:spMkLst>
            <pc:docMk/>
            <pc:sldMk cId="1411109031" sldId="2573"/>
            <ac:spMk id="53" creationId="{59C0AE2D-98DE-3392-C850-254EC8433CF1}"/>
          </ac:spMkLst>
        </pc:spChg>
        <pc:spChg chg="add del mod">
          <ac:chgData name="JOSE ANTONIO ORDOÑEZ LUCENA" userId="ec8dd69b-01fe-4d41-a294-c2927b548e27" providerId="ADAL" clId="{91EEDD06-C1A4-414C-A964-FE3044749A60}" dt="2022-07-27T06:21:33.409" v="13847"/>
          <ac:spMkLst>
            <pc:docMk/>
            <pc:sldMk cId="1411109031" sldId="2573"/>
            <ac:spMk id="56" creationId="{4EE6DC6F-F380-CE72-20C4-CC7C41D6E6BE}"/>
          </ac:spMkLst>
        </pc:spChg>
        <pc:spChg chg="add del mod">
          <ac:chgData name="JOSE ANTONIO ORDOÑEZ LUCENA" userId="ec8dd69b-01fe-4d41-a294-c2927b548e27" providerId="ADAL" clId="{91EEDD06-C1A4-414C-A964-FE3044749A60}" dt="2022-07-27T06:21:33.409" v="13847"/>
          <ac:spMkLst>
            <pc:docMk/>
            <pc:sldMk cId="1411109031" sldId="2573"/>
            <ac:spMk id="57" creationId="{6C9D1716-CD22-1165-E0EB-8E6632AE91D9}"/>
          </ac:spMkLst>
        </pc:spChg>
        <pc:spChg chg="add del mod">
          <ac:chgData name="JOSE ANTONIO ORDOÑEZ LUCENA" userId="ec8dd69b-01fe-4d41-a294-c2927b548e27" providerId="ADAL" clId="{91EEDD06-C1A4-414C-A964-FE3044749A60}" dt="2022-07-27T06:21:33.409" v="13847"/>
          <ac:spMkLst>
            <pc:docMk/>
            <pc:sldMk cId="1411109031" sldId="2573"/>
            <ac:spMk id="58" creationId="{DD5E14B2-BC74-5F44-233B-DB9C0E855E5A}"/>
          </ac:spMkLst>
        </pc:spChg>
        <pc:spChg chg="add del mod">
          <ac:chgData name="JOSE ANTONIO ORDOÑEZ LUCENA" userId="ec8dd69b-01fe-4d41-a294-c2927b548e27" providerId="ADAL" clId="{91EEDD06-C1A4-414C-A964-FE3044749A60}" dt="2022-07-27T06:21:33.409" v="13847"/>
          <ac:spMkLst>
            <pc:docMk/>
            <pc:sldMk cId="1411109031" sldId="2573"/>
            <ac:spMk id="59" creationId="{F71678F0-CC8E-E86D-8392-019E3FA7C1C5}"/>
          </ac:spMkLst>
        </pc:spChg>
        <pc:spChg chg="add del mod">
          <ac:chgData name="JOSE ANTONIO ORDOÑEZ LUCENA" userId="ec8dd69b-01fe-4d41-a294-c2927b548e27" providerId="ADAL" clId="{91EEDD06-C1A4-414C-A964-FE3044749A60}" dt="2022-07-27T06:21:33.409" v="13847"/>
          <ac:spMkLst>
            <pc:docMk/>
            <pc:sldMk cId="1411109031" sldId="2573"/>
            <ac:spMk id="61" creationId="{44FCC1C2-D8D9-7C85-BFE0-DCDF49CAF174}"/>
          </ac:spMkLst>
        </pc:spChg>
        <pc:spChg chg="add del mod">
          <ac:chgData name="JOSE ANTONIO ORDOÑEZ LUCENA" userId="ec8dd69b-01fe-4d41-a294-c2927b548e27" providerId="ADAL" clId="{91EEDD06-C1A4-414C-A964-FE3044749A60}" dt="2022-07-27T06:21:33.409" v="13847"/>
          <ac:spMkLst>
            <pc:docMk/>
            <pc:sldMk cId="1411109031" sldId="2573"/>
            <ac:spMk id="66" creationId="{771CBEC2-66AF-2711-A647-CC0283864897}"/>
          </ac:spMkLst>
        </pc:spChg>
        <pc:spChg chg="add del mod">
          <ac:chgData name="JOSE ANTONIO ORDOÑEZ LUCENA" userId="ec8dd69b-01fe-4d41-a294-c2927b548e27" providerId="ADAL" clId="{91EEDD06-C1A4-414C-A964-FE3044749A60}" dt="2022-07-27T06:21:33.409" v="13847"/>
          <ac:spMkLst>
            <pc:docMk/>
            <pc:sldMk cId="1411109031" sldId="2573"/>
            <ac:spMk id="71" creationId="{81F43C33-FD71-B5AC-E539-7EF0115F51A6}"/>
          </ac:spMkLst>
        </pc:spChg>
        <pc:graphicFrameChg chg="del">
          <ac:chgData name="JOSE ANTONIO ORDOÑEZ LUCENA" userId="ec8dd69b-01fe-4d41-a294-c2927b548e27" providerId="ADAL" clId="{91EEDD06-C1A4-414C-A964-FE3044749A60}" dt="2022-07-27T06:20:44.488" v="13838" actId="478"/>
          <ac:graphicFrameMkLst>
            <pc:docMk/>
            <pc:sldMk cId="1411109031" sldId="2573"/>
            <ac:graphicFrameMk id="3" creationId="{C12BAD5B-E214-256F-42D3-70879BB4F6C3}"/>
          </ac:graphicFrameMkLst>
        </pc:graphicFrameChg>
        <pc:graphicFrameChg chg="mod modGraphic">
          <ac:chgData name="JOSE ANTONIO ORDOÑEZ LUCENA" userId="ec8dd69b-01fe-4d41-a294-c2927b548e27" providerId="ADAL" clId="{91EEDD06-C1A4-414C-A964-FE3044749A60}" dt="2022-08-01T13:10:24.424" v="25680" actId="14734"/>
          <ac:graphicFrameMkLst>
            <pc:docMk/>
            <pc:sldMk cId="1411109031" sldId="2573"/>
            <ac:graphicFrameMk id="8" creationId="{DB54715D-8848-26D6-2589-E6866AA2A49E}"/>
          </ac:graphicFrameMkLst>
        </pc:graphicFrameChg>
        <pc:picChg chg="add mod">
          <ac:chgData name="JOSE ANTONIO ORDOÑEZ LUCENA" userId="ec8dd69b-01fe-4d41-a294-c2927b548e27" providerId="ADAL" clId="{91EEDD06-C1A4-414C-A964-FE3044749A60}" dt="2022-07-27T06:21:37.296" v="13850" actId="1076"/>
          <ac:picMkLst>
            <pc:docMk/>
            <pc:sldMk cId="1411109031" sldId="2573"/>
            <ac:picMk id="72" creationId="{B11595CB-6270-DDD7-C421-091A2BA8F4F9}"/>
          </ac:picMkLst>
        </pc:picChg>
        <pc:cxnChg chg="add del mod">
          <ac:chgData name="JOSE ANTONIO ORDOÑEZ LUCENA" userId="ec8dd69b-01fe-4d41-a294-c2927b548e27" providerId="ADAL" clId="{91EEDD06-C1A4-414C-A964-FE3044749A60}" dt="2022-07-27T06:21:28.770" v="13845"/>
          <ac:cxnSpMkLst>
            <pc:docMk/>
            <pc:sldMk cId="1411109031" sldId="2573"/>
            <ac:cxnSpMk id="20" creationId="{C80A9C9A-4F3E-BD5F-4108-8A743C7EBFB6}"/>
          </ac:cxnSpMkLst>
        </pc:cxnChg>
        <pc:cxnChg chg="add del mod">
          <ac:chgData name="JOSE ANTONIO ORDOÑEZ LUCENA" userId="ec8dd69b-01fe-4d41-a294-c2927b548e27" providerId="ADAL" clId="{91EEDD06-C1A4-414C-A964-FE3044749A60}" dt="2022-07-27T06:21:28.770" v="13845"/>
          <ac:cxnSpMkLst>
            <pc:docMk/>
            <pc:sldMk cId="1411109031" sldId="2573"/>
            <ac:cxnSpMk id="23" creationId="{6990FD67-81A0-D77A-7520-6638CCEDEE87}"/>
          </ac:cxnSpMkLst>
        </pc:cxnChg>
        <pc:cxnChg chg="add del mod">
          <ac:chgData name="JOSE ANTONIO ORDOÑEZ LUCENA" userId="ec8dd69b-01fe-4d41-a294-c2927b548e27" providerId="ADAL" clId="{91EEDD06-C1A4-414C-A964-FE3044749A60}" dt="2022-07-27T06:21:28.770" v="13845"/>
          <ac:cxnSpMkLst>
            <pc:docMk/>
            <pc:sldMk cId="1411109031" sldId="2573"/>
            <ac:cxnSpMk id="24" creationId="{0F08FCD3-4CF2-A5F3-97AB-A9F27F7F9E4A}"/>
          </ac:cxnSpMkLst>
        </pc:cxnChg>
        <pc:cxnChg chg="add del mod">
          <ac:chgData name="JOSE ANTONIO ORDOÑEZ LUCENA" userId="ec8dd69b-01fe-4d41-a294-c2927b548e27" providerId="ADAL" clId="{91EEDD06-C1A4-414C-A964-FE3044749A60}" dt="2022-07-27T06:21:28.770" v="13845"/>
          <ac:cxnSpMkLst>
            <pc:docMk/>
            <pc:sldMk cId="1411109031" sldId="2573"/>
            <ac:cxnSpMk id="29" creationId="{81FC44C8-4B9B-9F85-AB60-55A05CCE6710}"/>
          </ac:cxnSpMkLst>
        </pc:cxnChg>
        <pc:cxnChg chg="add del mod">
          <ac:chgData name="JOSE ANTONIO ORDOÑEZ LUCENA" userId="ec8dd69b-01fe-4d41-a294-c2927b548e27" providerId="ADAL" clId="{91EEDD06-C1A4-414C-A964-FE3044749A60}" dt="2022-07-27T06:21:28.770" v="13845"/>
          <ac:cxnSpMkLst>
            <pc:docMk/>
            <pc:sldMk cId="1411109031" sldId="2573"/>
            <ac:cxnSpMk id="31" creationId="{90EFB82A-40D4-4B90-5315-38DD12ED4504}"/>
          </ac:cxnSpMkLst>
        </pc:cxnChg>
        <pc:cxnChg chg="add del mod">
          <ac:chgData name="JOSE ANTONIO ORDOÑEZ LUCENA" userId="ec8dd69b-01fe-4d41-a294-c2927b548e27" providerId="ADAL" clId="{91EEDD06-C1A4-414C-A964-FE3044749A60}" dt="2022-07-27T06:21:28.770" v="13845"/>
          <ac:cxnSpMkLst>
            <pc:docMk/>
            <pc:sldMk cId="1411109031" sldId="2573"/>
            <ac:cxnSpMk id="32" creationId="{B081F738-4B33-5D20-9D6F-B8847A81C6BF}"/>
          </ac:cxnSpMkLst>
        </pc:cxnChg>
        <pc:cxnChg chg="add del mod">
          <ac:chgData name="JOSE ANTONIO ORDOÑEZ LUCENA" userId="ec8dd69b-01fe-4d41-a294-c2927b548e27" providerId="ADAL" clId="{91EEDD06-C1A4-414C-A964-FE3044749A60}" dt="2022-07-27T06:21:28.770" v="13845"/>
          <ac:cxnSpMkLst>
            <pc:docMk/>
            <pc:sldMk cId="1411109031" sldId="2573"/>
            <ac:cxnSpMk id="33" creationId="{80572309-3AD3-16DB-A775-DC5941F1CD1A}"/>
          </ac:cxnSpMkLst>
        </pc:cxnChg>
        <pc:cxnChg chg="add del mod">
          <ac:chgData name="JOSE ANTONIO ORDOÑEZ LUCENA" userId="ec8dd69b-01fe-4d41-a294-c2927b548e27" providerId="ADAL" clId="{91EEDD06-C1A4-414C-A964-FE3044749A60}" dt="2022-07-27T06:21:28.770" v="13845"/>
          <ac:cxnSpMkLst>
            <pc:docMk/>
            <pc:sldMk cId="1411109031" sldId="2573"/>
            <ac:cxnSpMk id="34" creationId="{E9037EDC-5FBC-8EDF-1D1B-A9B730E4BFCF}"/>
          </ac:cxnSpMkLst>
        </pc:cxnChg>
        <pc:cxnChg chg="add del mod">
          <ac:chgData name="JOSE ANTONIO ORDOÑEZ LUCENA" userId="ec8dd69b-01fe-4d41-a294-c2927b548e27" providerId="ADAL" clId="{91EEDD06-C1A4-414C-A964-FE3044749A60}" dt="2022-07-27T06:21:28.770" v="13845"/>
          <ac:cxnSpMkLst>
            <pc:docMk/>
            <pc:sldMk cId="1411109031" sldId="2573"/>
            <ac:cxnSpMk id="36" creationId="{329801D4-8F46-0ADB-B95B-2391145FC202}"/>
          </ac:cxnSpMkLst>
        </pc:cxnChg>
        <pc:cxnChg chg="add del mod">
          <ac:chgData name="JOSE ANTONIO ORDOÑEZ LUCENA" userId="ec8dd69b-01fe-4d41-a294-c2927b548e27" providerId="ADAL" clId="{91EEDD06-C1A4-414C-A964-FE3044749A60}" dt="2022-07-27T06:21:28.770" v="13845"/>
          <ac:cxnSpMkLst>
            <pc:docMk/>
            <pc:sldMk cId="1411109031" sldId="2573"/>
            <ac:cxnSpMk id="37" creationId="{15A36D1D-D738-0A0A-39D7-23C438762121}"/>
          </ac:cxnSpMkLst>
        </pc:cxnChg>
        <pc:cxnChg chg="add del mod">
          <ac:chgData name="JOSE ANTONIO ORDOÑEZ LUCENA" userId="ec8dd69b-01fe-4d41-a294-c2927b548e27" providerId="ADAL" clId="{91EEDD06-C1A4-414C-A964-FE3044749A60}" dt="2022-07-27T06:21:28.770" v="13845"/>
          <ac:cxnSpMkLst>
            <pc:docMk/>
            <pc:sldMk cId="1411109031" sldId="2573"/>
            <ac:cxnSpMk id="38" creationId="{6DF20E9D-7DC1-18B9-9764-A33695BB2AE5}"/>
          </ac:cxnSpMkLst>
        </pc:cxnChg>
        <pc:cxnChg chg="add del mod">
          <ac:chgData name="JOSE ANTONIO ORDOÑEZ LUCENA" userId="ec8dd69b-01fe-4d41-a294-c2927b548e27" providerId="ADAL" clId="{91EEDD06-C1A4-414C-A964-FE3044749A60}" dt="2022-07-27T06:21:28.770" v="13845"/>
          <ac:cxnSpMkLst>
            <pc:docMk/>
            <pc:sldMk cId="1411109031" sldId="2573"/>
            <ac:cxnSpMk id="39" creationId="{A7C19DBD-A632-79CD-3246-BFBECAADB84B}"/>
          </ac:cxnSpMkLst>
        </pc:cxnChg>
        <pc:cxnChg chg="add del mod">
          <ac:chgData name="JOSE ANTONIO ORDOÑEZ LUCENA" userId="ec8dd69b-01fe-4d41-a294-c2927b548e27" providerId="ADAL" clId="{91EEDD06-C1A4-414C-A964-FE3044749A60}" dt="2022-07-27T06:21:33.409" v="13847"/>
          <ac:cxnSpMkLst>
            <pc:docMk/>
            <pc:sldMk cId="1411109031" sldId="2573"/>
            <ac:cxnSpMk id="51" creationId="{BD372C7D-CC16-910A-8D6F-3F6237AE5972}"/>
          </ac:cxnSpMkLst>
        </pc:cxnChg>
        <pc:cxnChg chg="add del mod">
          <ac:chgData name="JOSE ANTONIO ORDOÑEZ LUCENA" userId="ec8dd69b-01fe-4d41-a294-c2927b548e27" providerId="ADAL" clId="{91EEDD06-C1A4-414C-A964-FE3044749A60}" dt="2022-07-27T06:21:33.409" v="13847"/>
          <ac:cxnSpMkLst>
            <pc:docMk/>
            <pc:sldMk cId="1411109031" sldId="2573"/>
            <ac:cxnSpMk id="54" creationId="{FD906296-1E11-33D6-5EF8-A2C46E752B93}"/>
          </ac:cxnSpMkLst>
        </pc:cxnChg>
        <pc:cxnChg chg="add del mod">
          <ac:chgData name="JOSE ANTONIO ORDOÑEZ LUCENA" userId="ec8dd69b-01fe-4d41-a294-c2927b548e27" providerId="ADAL" clId="{91EEDD06-C1A4-414C-A964-FE3044749A60}" dt="2022-07-27T06:21:33.409" v="13847"/>
          <ac:cxnSpMkLst>
            <pc:docMk/>
            <pc:sldMk cId="1411109031" sldId="2573"/>
            <ac:cxnSpMk id="55" creationId="{4FF445D2-D707-27AB-7C9B-50B298395157}"/>
          </ac:cxnSpMkLst>
        </pc:cxnChg>
        <pc:cxnChg chg="add del mod">
          <ac:chgData name="JOSE ANTONIO ORDOÑEZ LUCENA" userId="ec8dd69b-01fe-4d41-a294-c2927b548e27" providerId="ADAL" clId="{91EEDD06-C1A4-414C-A964-FE3044749A60}" dt="2022-07-27T06:21:33.409" v="13847"/>
          <ac:cxnSpMkLst>
            <pc:docMk/>
            <pc:sldMk cId="1411109031" sldId="2573"/>
            <ac:cxnSpMk id="60" creationId="{1E1F7CC5-B58C-ABD7-68EB-B871036C7756}"/>
          </ac:cxnSpMkLst>
        </pc:cxnChg>
        <pc:cxnChg chg="add del mod">
          <ac:chgData name="JOSE ANTONIO ORDOÑEZ LUCENA" userId="ec8dd69b-01fe-4d41-a294-c2927b548e27" providerId="ADAL" clId="{91EEDD06-C1A4-414C-A964-FE3044749A60}" dt="2022-07-27T06:21:33.409" v="13847"/>
          <ac:cxnSpMkLst>
            <pc:docMk/>
            <pc:sldMk cId="1411109031" sldId="2573"/>
            <ac:cxnSpMk id="62" creationId="{EFECB391-882C-E958-EE7B-928E0420E342}"/>
          </ac:cxnSpMkLst>
        </pc:cxnChg>
        <pc:cxnChg chg="add del mod">
          <ac:chgData name="JOSE ANTONIO ORDOÑEZ LUCENA" userId="ec8dd69b-01fe-4d41-a294-c2927b548e27" providerId="ADAL" clId="{91EEDD06-C1A4-414C-A964-FE3044749A60}" dt="2022-07-27T06:21:33.409" v="13847"/>
          <ac:cxnSpMkLst>
            <pc:docMk/>
            <pc:sldMk cId="1411109031" sldId="2573"/>
            <ac:cxnSpMk id="63" creationId="{0A689AA1-2391-710A-A5F7-6FF3A588AF29}"/>
          </ac:cxnSpMkLst>
        </pc:cxnChg>
        <pc:cxnChg chg="add del mod">
          <ac:chgData name="JOSE ANTONIO ORDOÑEZ LUCENA" userId="ec8dd69b-01fe-4d41-a294-c2927b548e27" providerId="ADAL" clId="{91EEDD06-C1A4-414C-A964-FE3044749A60}" dt="2022-07-27T06:21:33.409" v="13847"/>
          <ac:cxnSpMkLst>
            <pc:docMk/>
            <pc:sldMk cId="1411109031" sldId="2573"/>
            <ac:cxnSpMk id="64" creationId="{57BB0484-F321-83D0-D23A-6A15BF3AD122}"/>
          </ac:cxnSpMkLst>
        </pc:cxnChg>
        <pc:cxnChg chg="add del mod">
          <ac:chgData name="JOSE ANTONIO ORDOÑEZ LUCENA" userId="ec8dd69b-01fe-4d41-a294-c2927b548e27" providerId="ADAL" clId="{91EEDD06-C1A4-414C-A964-FE3044749A60}" dt="2022-07-27T06:21:33.409" v="13847"/>
          <ac:cxnSpMkLst>
            <pc:docMk/>
            <pc:sldMk cId="1411109031" sldId="2573"/>
            <ac:cxnSpMk id="65" creationId="{B1511B0F-E78A-5096-255A-08F3BB2D8ABF}"/>
          </ac:cxnSpMkLst>
        </pc:cxnChg>
        <pc:cxnChg chg="add del mod">
          <ac:chgData name="JOSE ANTONIO ORDOÑEZ LUCENA" userId="ec8dd69b-01fe-4d41-a294-c2927b548e27" providerId="ADAL" clId="{91EEDD06-C1A4-414C-A964-FE3044749A60}" dt="2022-07-27T06:21:33.409" v="13847"/>
          <ac:cxnSpMkLst>
            <pc:docMk/>
            <pc:sldMk cId="1411109031" sldId="2573"/>
            <ac:cxnSpMk id="67" creationId="{CF19B46E-D37E-9CFC-6ACF-6A69FB4CA116}"/>
          </ac:cxnSpMkLst>
        </pc:cxnChg>
        <pc:cxnChg chg="add del mod">
          <ac:chgData name="JOSE ANTONIO ORDOÑEZ LUCENA" userId="ec8dd69b-01fe-4d41-a294-c2927b548e27" providerId="ADAL" clId="{91EEDD06-C1A4-414C-A964-FE3044749A60}" dt="2022-07-27T06:21:33.409" v="13847"/>
          <ac:cxnSpMkLst>
            <pc:docMk/>
            <pc:sldMk cId="1411109031" sldId="2573"/>
            <ac:cxnSpMk id="68" creationId="{BA603227-CF84-7073-2854-1B8121E3AD5B}"/>
          </ac:cxnSpMkLst>
        </pc:cxnChg>
        <pc:cxnChg chg="add del mod">
          <ac:chgData name="JOSE ANTONIO ORDOÑEZ LUCENA" userId="ec8dd69b-01fe-4d41-a294-c2927b548e27" providerId="ADAL" clId="{91EEDD06-C1A4-414C-A964-FE3044749A60}" dt="2022-07-27T06:21:33.409" v="13847"/>
          <ac:cxnSpMkLst>
            <pc:docMk/>
            <pc:sldMk cId="1411109031" sldId="2573"/>
            <ac:cxnSpMk id="69" creationId="{0376E01B-1DE4-30A9-3771-892268F649BB}"/>
          </ac:cxnSpMkLst>
        </pc:cxnChg>
        <pc:cxnChg chg="add del mod">
          <ac:chgData name="JOSE ANTONIO ORDOÑEZ LUCENA" userId="ec8dd69b-01fe-4d41-a294-c2927b548e27" providerId="ADAL" clId="{91EEDD06-C1A4-414C-A964-FE3044749A60}" dt="2022-07-27T06:21:33.409" v="13847"/>
          <ac:cxnSpMkLst>
            <pc:docMk/>
            <pc:sldMk cId="1411109031" sldId="2573"/>
            <ac:cxnSpMk id="70" creationId="{A9D8525A-EBC2-01B6-DAD9-571998BC0B47}"/>
          </ac:cxnSpMkLst>
        </pc:cxnChg>
      </pc:sldChg>
      <pc:sldChg chg="addSp modSp add mod">
        <pc:chgData name="JOSE ANTONIO ORDOÑEZ LUCENA" userId="ec8dd69b-01fe-4d41-a294-c2927b548e27" providerId="ADAL" clId="{91EEDD06-C1A4-414C-A964-FE3044749A60}" dt="2022-07-27T07:03:10.408" v="19146" actId="14100"/>
        <pc:sldMkLst>
          <pc:docMk/>
          <pc:sldMk cId="3412733079" sldId="2574"/>
        </pc:sldMkLst>
        <pc:spChg chg="add mod">
          <ac:chgData name="JOSE ANTONIO ORDOÑEZ LUCENA" userId="ec8dd69b-01fe-4d41-a294-c2927b548e27" providerId="ADAL" clId="{91EEDD06-C1A4-414C-A964-FE3044749A60}" dt="2022-07-27T07:03:10.408" v="19146" actId="14100"/>
          <ac:spMkLst>
            <pc:docMk/>
            <pc:sldMk cId="3412733079" sldId="2574"/>
            <ac:spMk id="3" creationId="{054921AA-077B-3DE9-CCDB-7D9E2B38390C}"/>
          </ac:spMkLst>
        </pc:spChg>
        <pc:spChg chg="mod">
          <ac:chgData name="JOSE ANTONIO ORDOÑEZ LUCENA" userId="ec8dd69b-01fe-4d41-a294-c2927b548e27" providerId="ADAL" clId="{91EEDD06-C1A4-414C-A964-FE3044749A60}" dt="2022-07-27T07:02:49.036" v="19139" actId="20577"/>
          <ac:spMkLst>
            <pc:docMk/>
            <pc:sldMk cId="3412733079" sldId="2574"/>
            <ac:spMk id="13" creationId="{363ABA18-303F-D7FC-5290-78B7E2E74559}"/>
          </ac:spMkLst>
        </pc:spChg>
      </pc:sldChg>
      <pc:sldChg chg="modSp add mod">
        <pc:chgData name="JOSE ANTONIO ORDOÑEZ LUCENA" userId="ec8dd69b-01fe-4d41-a294-c2927b548e27" providerId="ADAL" clId="{91EEDD06-C1A4-414C-A964-FE3044749A60}" dt="2022-07-27T07:03:05.469" v="19145" actId="14100"/>
        <pc:sldMkLst>
          <pc:docMk/>
          <pc:sldMk cId="3608542182" sldId="2575"/>
        </pc:sldMkLst>
        <pc:spChg chg="mod">
          <ac:chgData name="JOSE ANTONIO ORDOÑEZ LUCENA" userId="ec8dd69b-01fe-4d41-a294-c2927b548e27" providerId="ADAL" clId="{91EEDD06-C1A4-414C-A964-FE3044749A60}" dt="2022-07-27T07:03:05.469" v="19145" actId="14100"/>
          <ac:spMkLst>
            <pc:docMk/>
            <pc:sldMk cId="3608542182" sldId="2575"/>
            <ac:spMk id="3" creationId="{054921AA-077B-3DE9-CCDB-7D9E2B38390C}"/>
          </ac:spMkLst>
        </pc:spChg>
        <pc:spChg chg="mod">
          <ac:chgData name="JOSE ANTONIO ORDOÑEZ LUCENA" userId="ec8dd69b-01fe-4d41-a294-c2927b548e27" providerId="ADAL" clId="{91EEDD06-C1A4-414C-A964-FE3044749A60}" dt="2022-07-27T07:02:56.496" v="19141" actId="20577"/>
          <ac:spMkLst>
            <pc:docMk/>
            <pc:sldMk cId="3608542182" sldId="2575"/>
            <ac:spMk id="13" creationId="{363ABA18-303F-D7FC-5290-78B7E2E74559}"/>
          </ac:spMkLst>
        </pc:spChg>
      </pc:sldChg>
      <pc:sldChg chg="addSp delSp modSp add mod ord">
        <pc:chgData name="JOSE ANTONIO ORDOÑEZ LUCENA" userId="ec8dd69b-01fe-4d41-a294-c2927b548e27" providerId="ADAL" clId="{91EEDD06-C1A4-414C-A964-FE3044749A60}" dt="2022-07-27T07:43:40.054" v="22795" actId="20577"/>
        <pc:sldMkLst>
          <pc:docMk/>
          <pc:sldMk cId="847472145" sldId="2576"/>
        </pc:sldMkLst>
        <pc:spChg chg="mod">
          <ac:chgData name="JOSE ANTONIO ORDOÑEZ LUCENA" userId="ec8dd69b-01fe-4d41-a294-c2927b548e27" providerId="ADAL" clId="{91EEDD06-C1A4-414C-A964-FE3044749A60}" dt="2022-07-27T07:17:13.258" v="20562" actId="20577"/>
          <ac:spMkLst>
            <pc:docMk/>
            <pc:sldMk cId="847472145" sldId="2576"/>
            <ac:spMk id="2" creationId="{2B73D7CB-E55B-ED4D-A567-274B625D4CEF}"/>
          </ac:spMkLst>
        </pc:spChg>
        <pc:spChg chg="add del mod">
          <ac:chgData name="JOSE ANTONIO ORDOÑEZ LUCENA" userId="ec8dd69b-01fe-4d41-a294-c2927b548e27" providerId="ADAL" clId="{91EEDD06-C1A4-414C-A964-FE3044749A60}" dt="2022-07-27T07:07:16.368" v="19311" actId="478"/>
          <ac:spMkLst>
            <pc:docMk/>
            <pc:sldMk cId="847472145" sldId="2576"/>
            <ac:spMk id="3" creationId="{7BF5BFE3-8969-89F9-79D2-7DF54C150C8E}"/>
          </ac:spMkLst>
        </pc:spChg>
        <pc:spChg chg="add mod">
          <ac:chgData name="JOSE ANTONIO ORDOÑEZ LUCENA" userId="ec8dd69b-01fe-4d41-a294-c2927b548e27" providerId="ADAL" clId="{91EEDD06-C1A4-414C-A964-FE3044749A60}" dt="2022-07-27T07:43:40.054" v="22795" actId="20577"/>
          <ac:spMkLst>
            <pc:docMk/>
            <pc:sldMk cId="847472145" sldId="2576"/>
            <ac:spMk id="6" creationId="{C9B4AE01-2C43-5F99-9B70-C93F6B39D465}"/>
          </ac:spMkLst>
        </pc:spChg>
        <pc:spChg chg="mod">
          <ac:chgData name="JOSE ANTONIO ORDOÑEZ LUCENA" userId="ec8dd69b-01fe-4d41-a294-c2927b548e27" providerId="ADAL" clId="{91EEDD06-C1A4-414C-A964-FE3044749A60}" dt="2022-07-27T07:05:49.666" v="19201" actId="20577"/>
          <ac:spMkLst>
            <pc:docMk/>
            <pc:sldMk cId="847472145" sldId="2576"/>
            <ac:spMk id="7" creationId="{DC9E7C19-54DD-2FE2-245C-9310DE829FB1}"/>
          </ac:spMkLst>
        </pc:spChg>
        <pc:graphicFrameChg chg="add del mod">
          <ac:chgData name="JOSE ANTONIO ORDOÑEZ LUCENA" userId="ec8dd69b-01fe-4d41-a294-c2927b548e27" providerId="ADAL" clId="{91EEDD06-C1A4-414C-A964-FE3044749A60}" dt="2022-07-27T07:13:47.584" v="20160"/>
          <ac:graphicFrameMkLst>
            <pc:docMk/>
            <pc:sldMk cId="847472145" sldId="2576"/>
            <ac:graphicFrameMk id="8" creationId="{103D7F03-2483-7890-6644-1E427E62B724}"/>
          </ac:graphicFrameMkLst>
        </pc:graphicFrameChg>
        <pc:picChg chg="add mod">
          <ac:chgData name="JOSE ANTONIO ORDOÑEZ LUCENA" userId="ec8dd69b-01fe-4d41-a294-c2927b548e27" providerId="ADAL" clId="{91EEDD06-C1A4-414C-A964-FE3044749A60}" dt="2022-07-27T07:20:39.733" v="20837" actId="1076"/>
          <ac:picMkLst>
            <pc:docMk/>
            <pc:sldMk cId="847472145" sldId="2576"/>
            <ac:picMk id="9" creationId="{5D3EA556-B553-30A7-FBC9-A30739B29437}"/>
          </ac:picMkLst>
        </pc:picChg>
        <pc:cxnChg chg="add mod">
          <ac:chgData name="JOSE ANTONIO ORDOÑEZ LUCENA" userId="ec8dd69b-01fe-4d41-a294-c2927b548e27" providerId="ADAL" clId="{91EEDD06-C1A4-414C-A964-FE3044749A60}" dt="2022-07-27T07:20:38.574" v="20836" actId="1076"/>
          <ac:cxnSpMkLst>
            <pc:docMk/>
            <pc:sldMk cId="847472145" sldId="2576"/>
            <ac:cxnSpMk id="11" creationId="{CFDF395A-EB71-C916-D0ED-57B729F40A98}"/>
          </ac:cxnSpMkLst>
        </pc:cxnChg>
      </pc:sldChg>
      <pc:sldChg chg="addSp delSp modSp add mod">
        <pc:chgData name="JOSE ANTONIO ORDOÑEZ LUCENA" userId="ec8dd69b-01fe-4d41-a294-c2927b548e27" providerId="ADAL" clId="{91EEDD06-C1A4-414C-A964-FE3044749A60}" dt="2022-08-01T13:37:49.677" v="25868" actId="20577"/>
        <pc:sldMkLst>
          <pc:docMk/>
          <pc:sldMk cId="3333392718" sldId="2577"/>
        </pc:sldMkLst>
        <pc:spChg chg="mod">
          <ac:chgData name="JOSE ANTONIO ORDOÑEZ LUCENA" userId="ec8dd69b-01fe-4d41-a294-c2927b548e27" providerId="ADAL" clId="{91EEDD06-C1A4-414C-A964-FE3044749A60}" dt="2022-07-27T07:20:45.103" v="20839" actId="20577"/>
          <ac:spMkLst>
            <pc:docMk/>
            <pc:sldMk cId="3333392718" sldId="2577"/>
            <ac:spMk id="2" creationId="{2B73D7CB-E55B-ED4D-A567-274B625D4CEF}"/>
          </ac:spMkLst>
        </pc:spChg>
        <pc:spChg chg="del mod">
          <ac:chgData name="JOSE ANTONIO ORDOÑEZ LUCENA" userId="ec8dd69b-01fe-4d41-a294-c2927b548e27" providerId="ADAL" clId="{91EEDD06-C1A4-414C-A964-FE3044749A60}" dt="2022-07-27T07:20:47.483" v="20840" actId="478"/>
          <ac:spMkLst>
            <pc:docMk/>
            <pc:sldMk cId="3333392718" sldId="2577"/>
            <ac:spMk id="6" creationId="{C9B4AE01-2C43-5F99-9B70-C93F6B39D465}"/>
          </ac:spMkLst>
        </pc:spChg>
        <pc:spChg chg="add mod">
          <ac:chgData name="JOSE ANTONIO ORDOÑEZ LUCENA" userId="ec8dd69b-01fe-4d41-a294-c2927b548e27" providerId="ADAL" clId="{91EEDD06-C1A4-414C-A964-FE3044749A60}" dt="2022-08-01T13:37:49.677" v="25868" actId="20577"/>
          <ac:spMkLst>
            <pc:docMk/>
            <pc:sldMk cId="3333392718" sldId="2577"/>
            <ac:spMk id="10" creationId="{4A505AEF-500A-D96A-BCD6-5067E0E8F6E8}"/>
          </ac:spMkLst>
        </pc:spChg>
        <pc:graphicFrameChg chg="add del mod modGraphic">
          <ac:chgData name="JOSE ANTONIO ORDOÑEZ LUCENA" userId="ec8dd69b-01fe-4d41-a294-c2927b548e27" providerId="ADAL" clId="{91EEDD06-C1A4-414C-A964-FE3044749A60}" dt="2022-07-27T07:32:44.596" v="21687" actId="478"/>
          <ac:graphicFrameMkLst>
            <pc:docMk/>
            <pc:sldMk cId="3333392718" sldId="2577"/>
            <ac:graphicFrameMk id="3" creationId="{486AB753-981B-6971-14CC-F20895FE9A76}"/>
          </ac:graphicFrameMkLst>
        </pc:graphicFrameChg>
        <pc:graphicFrameChg chg="add del mod modGraphic">
          <ac:chgData name="JOSE ANTONIO ORDOÑEZ LUCENA" userId="ec8dd69b-01fe-4d41-a294-c2927b548e27" providerId="ADAL" clId="{91EEDD06-C1A4-414C-A964-FE3044749A60}" dt="2022-08-01T13:37:38.850" v="25866" actId="14734"/>
          <ac:graphicFrameMkLst>
            <pc:docMk/>
            <pc:sldMk cId="3333392718" sldId="2577"/>
            <ac:graphicFrameMk id="8" creationId="{4CF7DC9E-F5B1-686E-1CBF-4F640D9203F1}"/>
          </ac:graphicFrameMkLst>
        </pc:graphicFrameChg>
        <pc:picChg chg="del">
          <ac:chgData name="JOSE ANTONIO ORDOÑEZ LUCENA" userId="ec8dd69b-01fe-4d41-a294-c2927b548e27" providerId="ADAL" clId="{91EEDD06-C1A4-414C-A964-FE3044749A60}" dt="2022-07-27T07:20:48.486" v="20841" actId="478"/>
          <ac:picMkLst>
            <pc:docMk/>
            <pc:sldMk cId="3333392718" sldId="2577"/>
            <ac:picMk id="9" creationId="{5D3EA556-B553-30A7-FBC9-A30739B29437}"/>
          </ac:picMkLst>
        </pc:picChg>
        <pc:cxnChg chg="del">
          <ac:chgData name="JOSE ANTONIO ORDOÑEZ LUCENA" userId="ec8dd69b-01fe-4d41-a294-c2927b548e27" providerId="ADAL" clId="{91EEDD06-C1A4-414C-A964-FE3044749A60}" dt="2022-07-27T07:20:49.076" v="20842" actId="478"/>
          <ac:cxnSpMkLst>
            <pc:docMk/>
            <pc:sldMk cId="3333392718" sldId="2577"/>
            <ac:cxnSpMk id="11" creationId="{CFDF395A-EB71-C916-D0ED-57B729F40A98}"/>
          </ac:cxnSpMkLst>
        </pc:cxnChg>
      </pc:sldChg>
      <pc:sldChg chg="modSp add mod ord">
        <pc:chgData name="JOSE ANTONIO ORDOÑEZ LUCENA" userId="ec8dd69b-01fe-4d41-a294-c2927b548e27" providerId="ADAL" clId="{91EEDD06-C1A4-414C-A964-FE3044749A60}" dt="2022-07-27T07:36:07.788" v="21890" actId="1076"/>
        <pc:sldMkLst>
          <pc:docMk/>
          <pc:sldMk cId="62375260" sldId="2578"/>
        </pc:sldMkLst>
        <pc:spChg chg="mod">
          <ac:chgData name="JOSE ANTONIO ORDOÑEZ LUCENA" userId="ec8dd69b-01fe-4d41-a294-c2927b548e27" providerId="ADAL" clId="{91EEDD06-C1A4-414C-A964-FE3044749A60}" dt="2022-07-27T07:36:07.788" v="21890" actId="1076"/>
          <ac:spMkLst>
            <pc:docMk/>
            <pc:sldMk cId="62375260" sldId="2578"/>
            <ac:spMk id="3" creationId="{054921AA-077B-3DE9-CCDB-7D9E2B38390C}"/>
          </ac:spMkLst>
        </pc:spChg>
      </pc:sldChg>
      <pc:sldChg chg="addSp delSp modSp add mod">
        <pc:chgData name="JOSE ANTONIO ORDOÑEZ LUCENA" userId="ec8dd69b-01fe-4d41-a294-c2927b548e27" providerId="ADAL" clId="{91EEDD06-C1A4-414C-A964-FE3044749A60}" dt="2022-07-27T08:19:02.203" v="25613" actId="20577"/>
        <pc:sldMkLst>
          <pc:docMk/>
          <pc:sldMk cId="2424840956" sldId="2579"/>
        </pc:sldMkLst>
        <pc:spChg chg="mod">
          <ac:chgData name="JOSE ANTONIO ORDOÑEZ LUCENA" userId="ec8dd69b-01fe-4d41-a294-c2927b548e27" providerId="ADAL" clId="{91EEDD06-C1A4-414C-A964-FE3044749A60}" dt="2022-07-27T07:42:59.228" v="22762" actId="20577"/>
          <ac:spMkLst>
            <pc:docMk/>
            <pc:sldMk cId="2424840956" sldId="2579"/>
            <ac:spMk id="2" creationId="{2B73D7CB-E55B-ED4D-A567-274B625D4CEF}"/>
          </ac:spMkLst>
        </pc:spChg>
        <pc:spChg chg="del mod">
          <ac:chgData name="JOSE ANTONIO ORDOÑEZ LUCENA" userId="ec8dd69b-01fe-4d41-a294-c2927b548e27" providerId="ADAL" clId="{91EEDD06-C1A4-414C-A964-FE3044749A60}" dt="2022-07-27T07:45:25.959" v="22796" actId="478"/>
          <ac:spMkLst>
            <pc:docMk/>
            <pc:sldMk cId="2424840956" sldId="2579"/>
            <ac:spMk id="6" creationId="{C9B4AE01-2C43-5F99-9B70-C93F6B39D465}"/>
          </ac:spMkLst>
        </pc:spChg>
        <pc:spChg chg="add del mod">
          <ac:chgData name="JOSE ANTONIO ORDOÑEZ LUCENA" userId="ec8dd69b-01fe-4d41-a294-c2927b548e27" providerId="ADAL" clId="{91EEDD06-C1A4-414C-A964-FE3044749A60}" dt="2022-07-27T07:50:44.575" v="22923" actId="478"/>
          <ac:spMkLst>
            <pc:docMk/>
            <pc:sldMk cId="2424840956" sldId="2579"/>
            <ac:spMk id="8" creationId="{A4FE0CB7-7C05-0AB1-0B64-CF38EDC3CAFC}"/>
          </ac:spMkLst>
        </pc:spChg>
        <pc:spChg chg="add del mod">
          <ac:chgData name="JOSE ANTONIO ORDOÑEZ LUCENA" userId="ec8dd69b-01fe-4d41-a294-c2927b548e27" providerId="ADAL" clId="{91EEDD06-C1A4-414C-A964-FE3044749A60}" dt="2022-07-27T08:19:02.203" v="25613" actId="20577"/>
          <ac:spMkLst>
            <pc:docMk/>
            <pc:sldMk cId="2424840956" sldId="2579"/>
            <ac:spMk id="10" creationId="{8C41BD76-2D53-3F10-7ED7-A952306A6FB5}"/>
          </ac:spMkLst>
        </pc:spChg>
        <pc:spChg chg="add mod">
          <ac:chgData name="JOSE ANTONIO ORDOÑEZ LUCENA" userId="ec8dd69b-01fe-4d41-a294-c2927b548e27" providerId="ADAL" clId="{91EEDD06-C1A4-414C-A964-FE3044749A60}" dt="2022-07-27T08:17:30.011" v="25414" actId="404"/>
          <ac:spMkLst>
            <pc:docMk/>
            <pc:sldMk cId="2424840956" sldId="2579"/>
            <ac:spMk id="12" creationId="{CC4170EB-BBDC-D347-CA3D-A6C4C307D633}"/>
          </ac:spMkLst>
        </pc:spChg>
        <pc:spChg chg="add mod">
          <ac:chgData name="JOSE ANTONIO ORDOÑEZ LUCENA" userId="ec8dd69b-01fe-4d41-a294-c2927b548e27" providerId="ADAL" clId="{91EEDD06-C1A4-414C-A964-FE3044749A60}" dt="2022-07-27T08:14:38.163" v="25230" actId="1076"/>
          <ac:spMkLst>
            <pc:docMk/>
            <pc:sldMk cId="2424840956" sldId="2579"/>
            <ac:spMk id="13" creationId="{D933B52C-EA79-AB7D-FFA2-33AF09588CB8}"/>
          </ac:spMkLst>
        </pc:spChg>
        <pc:picChg chg="add mod">
          <ac:chgData name="JOSE ANTONIO ORDOÑEZ LUCENA" userId="ec8dd69b-01fe-4d41-a294-c2927b548e27" providerId="ADAL" clId="{91EEDD06-C1A4-414C-A964-FE3044749A60}" dt="2022-07-27T08:15:53.795" v="25351" actId="1076"/>
          <ac:picMkLst>
            <pc:docMk/>
            <pc:sldMk cId="2424840956" sldId="2579"/>
            <ac:picMk id="3" creationId="{52BD9A54-4FED-4D36-B449-4D3474D592A3}"/>
          </ac:picMkLst>
        </pc:picChg>
        <pc:picChg chg="del">
          <ac:chgData name="JOSE ANTONIO ORDOÑEZ LUCENA" userId="ec8dd69b-01fe-4d41-a294-c2927b548e27" providerId="ADAL" clId="{91EEDD06-C1A4-414C-A964-FE3044749A60}" dt="2022-07-27T07:43:02.286" v="22763" actId="478"/>
          <ac:picMkLst>
            <pc:docMk/>
            <pc:sldMk cId="2424840956" sldId="2579"/>
            <ac:picMk id="9" creationId="{5D3EA556-B553-30A7-FBC9-A30739B29437}"/>
          </ac:picMkLst>
        </pc:picChg>
        <pc:cxnChg chg="del">
          <ac:chgData name="JOSE ANTONIO ORDOÑEZ LUCENA" userId="ec8dd69b-01fe-4d41-a294-c2927b548e27" providerId="ADAL" clId="{91EEDD06-C1A4-414C-A964-FE3044749A60}" dt="2022-07-27T07:43:03.299" v="22764" actId="478"/>
          <ac:cxnSpMkLst>
            <pc:docMk/>
            <pc:sldMk cId="2424840956" sldId="2579"/>
            <ac:cxnSpMk id="11" creationId="{CFDF395A-EB71-C916-D0ED-57B729F40A98}"/>
          </ac:cxnSpMkLst>
        </pc:cxnChg>
      </pc:sldChg>
    </pc:docChg>
  </pc:docChgLst>
</pc:chgInfo>
</file>

<file path=ppt/comments/modernComment_A05_5541C524.xml><?xml version="1.0" encoding="utf-8"?>
<p188:cmLst xmlns:a="http://schemas.openxmlformats.org/drawingml/2006/main" xmlns:r="http://schemas.openxmlformats.org/officeDocument/2006/relationships" xmlns:p188="http://schemas.microsoft.com/office/powerpoint/2018/8/main">
  <p188:cm id="{6561C265-38C3-E343-9883-06BB679E0086}" authorId="{BB5AE42A-44C9-A3D6-7B56-C74F01BA23FD}" created="2022-07-27T15:19:18.169">
    <pc:sldMkLst xmlns:pc="http://schemas.microsoft.com/office/powerpoint/2013/main/command">
      <pc:docMk/>
      <pc:sldMk cId="1430373668" sldId="2565"/>
    </pc:sldMkLst>
    <p188:txBody>
      <a:bodyPr/>
      <a:lstStyle/>
      <a:p>
        <a:r>
          <a:rPr lang="en-ES"/>
          <a:t>Circulate the diagram and discuss offline on how to better capture “API families”. </a:t>
        </a:r>
      </a:p>
    </p188:txBody>
  </p188:cm>
</p188:cmLst>
</file>

<file path=ppt/comments/modernComment_A08_29D26106.xml><?xml version="1.0" encoding="utf-8"?>
<p188:cmLst xmlns:a="http://schemas.openxmlformats.org/drawingml/2006/main" xmlns:r="http://schemas.openxmlformats.org/officeDocument/2006/relationships" xmlns:p188="http://schemas.microsoft.com/office/powerpoint/2018/8/main">
  <p188:cm id="{CC0100A9-BF70-D140-9EC6-E7083C093683}" authorId="{BB5AE42A-44C9-A3D6-7B56-C74F01BA23FD}" created="2022-07-27T15:46:58.106">
    <pc:sldMkLst xmlns:pc="http://schemas.microsoft.com/office/powerpoint/2013/main/command">
      <pc:docMk/>
      <pc:sldMk cId="701653254" sldId="2568"/>
    </pc:sldMkLst>
    <p188:txBody>
      <a:bodyPr/>
      <a:lstStyle/>
      <a:p>
        <a:r>
          <a:rPr lang="en-ES"/>
          <a:t>Shilpa brings a quite interesting situation - don’t have a close answer as of today. Think about potential way forward.
Include a NOTE to capture conflict situations we foresee, and potential solutions to solve them. </a:t>
        </a:r>
      </a:p>
    </p188:txBody>
  </p188:cm>
</p188:cmLst>
</file>

<file path=ppt/comments/modernComment_A0A_766C6F55.xml><?xml version="1.0" encoding="utf-8"?>
<p188:cmLst xmlns:a="http://schemas.openxmlformats.org/drawingml/2006/main" xmlns:r="http://schemas.openxmlformats.org/officeDocument/2006/relationships" xmlns:p188="http://schemas.microsoft.com/office/powerpoint/2018/8/main">
  <p188:cm id="{A3EBA174-5A76-0B45-B359-44D1174071C4}" authorId="{BB5AE42A-44C9-A3D6-7B56-C74F01BA23FD}" created="2022-07-27T16:31:19.839">
    <pc:sldMkLst xmlns:pc="http://schemas.microsoft.com/office/powerpoint/2013/main/command">
      <pc:docMk/>
      <pc:sldMk cId="1986817877" sldId="2570"/>
    </pc:sldMkLst>
    <p188:txBody>
      <a:bodyPr/>
      <a:lstStyle/>
      <a:p>
        <a:r>
          <a:rPr lang="en-ES"/>
          <a:t>Net neutrality -&gt; on hold for time being</a:t>
        </a:r>
      </a:p>
    </p188:txBody>
  </p188:cm>
</p188:cmLst>
</file>

<file path=ppt/comments/modernComment_A0D_541BD0A7.xml><?xml version="1.0" encoding="utf-8"?>
<p188:cmLst xmlns:a="http://schemas.openxmlformats.org/drawingml/2006/main" xmlns:r="http://schemas.openxmlformats.org/officeDocument/2006/relationships" xmlns:p188="http://schemas.microsoft.com/office/powerpoint/2018/8/main">
  <p188:cm id="{C1A04B2A-C7BE-A84C-95AF-B364B79634DA}" authorId="{BB5AE42A-44C9-A3D6-7B56-C74F01BA23FD}" created="2022-07-27T16:31:45.419">
    <pc:sldMkLst xmlns:pc="http://schemas.microsoft.com/office/powerpoint/2013/main/command">
      <pc:docMk/>
      <pc:sldMk cId="1411109031" sldId="2573"/>
    </pc:sldMkLst>
    <p188:txBody>
      <a:bodyPr/>
      <a:lstStyle/>
      <a:p>
        <a:r>
          <a:rPr lang="en-ES"/>
          <a:t>Net neutrality. On hold for the time being</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01.08.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dirty="0"/>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400"/>
          </a:p>
        </p:txBody>
      </p:sp>
      <p:sp>
        <p:nvSpPr>
          <p:cNvPr id="4" name="Slide Number Placeholder 3"/>
          <p:cNvSpPr>
            <a:spLocks noGrp="1"/>
          </p:cNvSpPr>
          <p:nvPr>
            <p:ph type="sldNum" sz="quarter" idx="5"/>
          </p:nvPr>
        </p:nvSpPr>
        <p:spPr/>
        <p:txBody>
          <a:bodyPr/>
          <a:lstStyle/>
          <a:p>
            <a:fld id="{4D5E73FF-D77B-C448-8EE7-EC7828771058}" type="slidenum">
              <a:rPr lang="en-ES" smtClean="0"/>
              <a:t>2</a:t>
            </a:fld>
            <a:endParaRPr lang="en-ES"/>
          </a:p>
        </p:txBody>
      </p:sp>
    </p:spTree>
    <p:extLst>
      <p:ext uri="{BB962C8B-B14F-4D97-AF65-F5344CB8AC3E}">
        <p14:creationId xmlns:p14="http://schemas.microsoft.com/office/powerpoint/2010/main" val="2807397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85083" y="576481"/>
            <a:ext cx="10640628" cy="757374"/>
          </a:xfrm>
        </p:spPr>
        <p:txBody>
          <a:bodyPr/>
          <a:lstStyle/>
          <a:p>
            <a:r>
              <a:rPr lang="es-ES" dirty="0" err="1"/>
              <a:t>Insert</a:t>
            </a:r>
            <a:r>
              <a:rPr lang="es-ES" dirty="0"/>
              <a:t> </a:t>
            </a:r>
            <a:r>
              <a:rPr lang="es-ES" dirty="0" err="1"/>
              <a:t>Title</a:t>
            </a:r>
            <a:r>
              <a:rPr lang="es-ES" dirty="0"/>
              <a:t> </a:t>
            </a:r>
            <a:r>
              <a:rPr lang="es-ES" dirty="0" err="1"/>
              <a:t>Here</a:t>
            </a:r>
            <a:br>
              <a:rPr lang="es-ES" dirty="0"/>
            </a:br>
            <a:r>
              <a:rPr lang="es-ES" dirty="0"/>
              <a:t>Max 2 </a:t>
            </a:r>
            <a:r>
              <a:rPr lang="es-ES" dirty="0" err="1"/>
              <a:t>lines</a:t>
            </a:r>
            <a:endParaRPr lang="es-ES" dirty="0"/>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390646" y="1650378"/>
            <a:ext cx="10643842" cy="570765"/>
          </a:xfrm>
        </p:spPr>
        <p:txBody>
          <a:bodyPr/>
          <a:lstStyle>
            <a:lvl1pPr marL="0" indent="0">
              <a:buNone/>
              <a:defRPr b="1">
                <a:solidFill>
                  <a:schemeClr val="tx1"/>
                </a:solidFill>
              </a:defRPr>
            </a:lvl1pPr>
          </a:lstStyle>
          <a:p>
            <a:pPr lvl="0"/>
            <a:r>
              <a:rPr lang="es-ES" dirty="0" err="1"/>
              <a:t>Body</a:t>
            </a:r>
            <a:r>
              <a:rPr lang="es-ES" dirty="0"/>
              <a:t> </a:t>
            </a:r>
            <a:r>
              <a:rPr lang="es-ES" dirty="0" err="1"/>
              <a:t>subhead</a:t>
            </a:r>
            <a:r>
              <a:rPr lang="es-ES" dirty="0"/>
              <a:t> (</a:t>
            </a:r>
            <a:r>
              <a:rPr lang="es-ES" dirty="0" err="1"/>
              <a:t>second</a:t>
            </a:r>
            <a:r>
              <a:rPr lang="es-ES" dirty="0"/>
              <a:t> </a:t>
            </a:r>
            <a:r>
              <a:rPr lang="es-ES" dirty="0" err="1"/>
              <a:t>level</a:t>
            </a:r>
            <a:r>
              <a:rPr lang="es-ES" dirty="0"/>
              <a:t> </a:t>
            </a:r>
            <a:r>
              <a:rPr lang="es-ES" dirty="0" err="1"/>
              <a:t>text</a:t>
            </a:r>
            <a:r>
              <a:rPr lang="es-ES" dirty="0"/>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390645" y="2327580"/>
            <a:ext cx="10643844" cy="1204330"/>
          </a:xfrm>
        </p:spPr>
        <p:txBody>
          <a:bodyPr/>
          <a:lstStyle>
            <a:lvl1pPr marL="0" indent="0">
              <a:buNone/>
              <a:defRPr>
                <a:solidFill>
                  <a:schemeClr val="tx1">
                    <a:lumMod val="60000"/>
                    <a:lumOff val="40000"/>
                  </a:schemeClr>
                </a:solidFill>
              </a:defRPr>
            </a:lvl1pPr>
          </a:lstStyle>
          <a:p>
            <a:pPr lvl="0"/>
            <a:r>
              <a:rPr lang="es-ES" dirty="0" err="1"/>
              <a:t>Lorem</a:t>
            </a:r>
            <a:r>
              <a:rPr lang="es-ES" dirty="0"/>
              <a:t> </a:t>
            </a:r>
            <a:r>
              <a:rPr lang="es-ES" dirty="0" err="1"/>
              <a:t>ipsum</a:t>
            </a:r>
            <a:r>
              <a:rPr lang="es-ES" dirty="0"/>
              <a:t> dolor </a:t>
            </a:r>
            <a:r>
              <a:rPr lang="es-ES" dirty="0" err="1"/>
              <a:t>sit</a:t>
            </a:r>
            <a:r>
              <a:rPr lang="es-ES" dirty="0"/>
              <a:t> </a:t>
            </a:r>
            <a:r>
              <a:rPr lang="es-ES" dirty="0" err="1"/>
              <a:t>amet</a:t>
            </a:r>
            <a:r>
              <a:rPr lang="es-ES" dirty="0"/>
              <a:t>, </a:t>
            </a:r>
            <a:r>
              <a:rPr lang="es-ES" dirty="0" err="1"/>
              <a:t>consectetur</a:t>
            </a:r>
            <a:r>
              <a:rPr lang="es-ES" dirty="0"/>
              <a:t> </a:t>
            </a:r>
            <a:r>
              <a:rPr lang="es-ES" dirty="0" err="1"/>
              <a:t>adipiscing</a:t>
            </a:r>
            <a:r>
              <a:rPr lang="es-ES" dirty="0"/>
              <a:t> </a:t>
            </a:r>
            <a:r>
              <a:rPr lang="es-ES" dirty="0" err="1"/>
              <a:t>elit</a:t>
            </a:r>
            <a:r>
              <a:rPr lang="es-ES" dirty="0"/>
              <a:t>. </a:t>
            </a:r>
            <a:r>
              <a:rPr lang="es-ES" dirty="0" err="1"/>
              <a:t>Aliquam</a:t>
            </a:r>
            <a:r>
              <a:rPr lang="es-ES" dirty="0"/>
              <a:t> </a:t>
            </a:r>
            <a:r>
              <a:rPr lang="es-ES" dirty="0" err="1"/>
              <a:t>euismod</a:t>
            </a:r>
            <a:r>
              <a:rPr lang="es-ES" dirty="0"/>
              <a:t> </a:t>
            </a:r>
            <a:r>
              <a:rPr lang="es-ES" dirty="0" err="1"/>
              <a:t>cursus</a:t>
            </a:r>
            <a:r>
              <a:rPr lang="es-ES" dirty="0"/>
              <a:t> </a:t>
            </a:r>
            <a:r>
              <a:rPr lang="es-ES" dirty="0" err="1"/>
              <a:t>ipsum</a:t>
            </a:r>
            <a:r>
              <a:rPr lang="es-ES" dirty="0"/>
              <a:t>. </a:t>
            </a:r>
            <a:r>
              <a:rPr lang="es-ES" dirty="0" err="1"/>
              <a:t>Hasellus</a:t>
            </a:r>
            <a:r>
              <a:rPr lang="es-ES" dirty="0"/>
              <a:t> </a:t>
            </a:r>
            <a:r>
              <a:rPr lang="es-ES" dirty="0" err="1"/>
              <a:t>erat</a:t>
            </a:r>
            <a:r>
              <a:rPr lang="es-ES" dirty="0"/>
              <a:t> </a:t>
            </a:r>
            <a:r>
              <a:rPr lang="es-ES" dirty="0" err="1"/>
              <a:t>metus</a:t>
            </a:r>
            <a:r>
              <a:rPr lang="es-ES" dirty="0"/>
              <a:t>, </a:t>
            </a:r>
            <a:r>
              <a:rPr lang="es-ES" dirty="0" err="1"/>
              <a:t>faucibus</a:t>
            </a:r>
            <a:r>
              <a:rPr lang="es-ES" dirty="0"/>
              <a:t> </a:t>
            </a:r>
            <a:r>
              <a:rPr lang="es-ES" dirty="0" err="1"/>
              <a:t>quis</a:t>
            </a:r>
            <a:r>
              <a:rPr lang="es-ES" dirty="0"/>
              <a:t> </a:t>
            </a:r>
            <a:r>
              <a:rPr lang="es-ES" dirty="0" err="1"/>
              <a:t>interdum</a:t>
            </a:r>
            <a:r>
              <a:rPr lang="es-ES" dirty="0"/>
              <a:t> id, </a:t>
            </a:r>
            <a:r>
              <a:rPr lang="es-ES" dirty="0" err="1"/>
              <a:t>viverra</a:t>
            </a:r>
            <a:r>
              <a:rPr lang="es-ES" dirty="0"/>
              <a:t> </a:t>
            </a:r>
            <a:r>
              <a:rPr lang="es-ES" dirty="0" err="1"/>
              <a:t>nec</a:t>
            </a:r>
            <a:r>
              <a:rPr lang="es-ES" dirty="0"/>
              <a:t> </a:t>
            </a:r>
            <a:r>
              <a:rPr lang="es-ES" dirty="0" err="1"/>
              <a:t>enim</a:t>
            </a:r>
            <a:r>
              <a:rPr lang="es-ES" dirty="0"/>
              <a:t>:</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393860" y="346730"/>
            <a:ext cx="10640628" cy="187643"/>
          </a:xfrm>
        </p:spPr>
        <p:txBody>
          <a:bodyPr>
            <a:noAutofit/>
          </a:bodyPr>
          <a:lstStyle>
            <a:lvl1pPr marL="0" indent="0">
              <a:buNone/>
              <a:defRPr sz="1229" b="1" cap="all" baseline="0">
                <a:latin typeface="+mn-lt"/>
              </a:defRPr>
            </a:lvl1pPr>
          </a:lstStyle>
          <a:p>
            <a:pPr lvl="0"/>
            <a:r>
              <a:rPr lang="es-ES" dirty="0"/>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803" y="6071767"/>
            <a:ext cx="698052" cy="194571"/>
          </a:xfrm>
          <a:prstGeom prst="rect">
            <a:avLst/>
          </a:prstGeom>
        </p:spPr>
      </p:pic>
    </p:spTree>
    <p:extLst>
      <p:ext uri="{BB962C8B-B14F-4D97-AF65-F5344CB8AC3E}">
        <p14:creationId xmlns:p14="http://schemas.microsoft.com/office/powerpoint/2010/main" val="165539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4" name="Objekt 3" hidden="1"/>
                      <p:cNvPicPr/>
                      <p:nvPr/>
                    </p:nvPicPr>
                    <p:blipFill>
                      <a:blip r:embed="rId17"/>
                      <a:stretch>
                        <a:fillRect/>
                      </a:stretch>
                    </p:blipFill>
                    <p:spPr>
                      <a:xfrm>
                        <a:off x="1588" y="1590"/>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xml"/><Relationship Id="rId7" Type="http://schemas.openxmlformats.org/officeDocument/2006/relationships/hyperlink" Target="https://github.com/camaraproject/WorkingGroups/blob/main/APIBacklog/API%20backlog%20proposal%20for%20change.pdf"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hyperlink" Target="https://github.com/camaraproject/WorkingGroups/blob/main/APIBacklog/APIBacklog.md" TargetMode="Externa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hyperlink" Target="https://github.com/camaraproject/WorkingGroups/blob/main/Commonalities/documentation/Deliverables/API-DocumentationTemplate.md" TargetMode="External"/><Relationship Id="rId3" Type="http://schemas.openxmlformats.org/officeDocument/2006/relationships/slideLayout" Target="../slideLayouts/slideLayout5.xml"/><Relationship Id="rId7" Type="http://schemas.openxmlformats.org/officeDocument/2006/relationships/hyperlink" Target="https://github.com/camaraproject/WorkingGroups/blob/main/Commonalities/documentation/Working/CAMARA-AuthN-AuthZ-Concept.md"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5.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microsoft.com/office/2018/10/relationships/comments" Target="../comments/modernComment_A05_5541C524.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oleObject" Target="../embeddings/oleObject11.bin"/><Relationship Id="rId4" Type="http://schemas.microsoft.com/office/2018/10/relationships/comments" Target="../comments/modernComment_A08_29D2610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2.bin"/><Relationship Id="rId4" Type="http://schemas.microsoft.com/office/2018/10/relationships/comments" Target="../comments/modernComment_A0A_766C6F5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13.bin"/><Relationship Id="rId4" Type="http://schemas.microsoft.com/office/2018/10/relationships/comments" Target="../comments/modernComment_A0D_541BD0A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000" y="1609200"/>
            <a:ext cx="10945150" cy="4625406"/>
          </a:xfrm>
          <a:noFill/>
          <a:ln>
            <a:noFill/>
          </a:ln>
        </p:spPr>
        <p:txBody>
          <a:bodyPr vert="horz" lIns="108000" tIns="108000" rIns="108000" bIns="108000" rtlCol="0" anchor="t" anchorCtr="0">
            <a:spAutoFit/>
          </a:bodyPr>
          <a:lstStyle/>
          <a:p>
            <a:endParaRPr lang="en-US" b="0" dirty="0">
              <a:solidFill>
                <a:srgbClr val="FFFFFF"/>
              </a:solidFill>
              <a:latin typeface="FlexoSoft Medium" panose="02000000000000000000" pitchFamily="2" charset="0"/>
            </a:endParaRPr>
          </a:p>
          <a:p>
            <a:r>
              <a:rPr lang="en-US" sz="4800" b="0" dirty="0">
                <a:solidFill>
                  <a:srgbClr val="FFFFFF"/>
                </a:solidFill>
                <a:latin typeface="FlexoSoft Medium"/>
                <a:cs typeface="Calibri Light"/>
              </a:rPr>
              <a:t>Telco Global API </a:t>
            </a:r>
            <a:r>
              <a:rPr lang="en-US" sz="4800" dirty="0">
                <a:solidFill>
                  <a:srgbClr val="FFFFFF"/>
                </a:solidFill>
                <a:latin typeface="FlexoSoft Medium"/>
                <a:cs typeface="Calibri Light"/>
              </a:rPr>
              <a:t>Alliance – CAMARA </a:t>
            </a:r>
            <a:endParaRPr lang="en-US" sz="4800" b="0" dirty="0">
              <a:solidFill>
                <a:srgbClr val="FFFFFF"/>
              </a:solidFill>
              <a:latin typeface="FlexoSoft Medium" panose="02000000000000000000" pitchFamily="2" charset="0"/>
            </a:endParaRPr>
          </a:p>
          <a:p>
            <a:r>
              <a:rPr lang="en-US" sz="2400" dirty="0">
                <a:solidFill>
                  <a:srgbClr val="FFFFFF"/>
                </a:solidFill>
              </a:rPr>
              <a:t>Pathways towards a clear, consistent and transparent process for API onboarding and handling</a:t>
            </a:r>
          </a:p>
          <a:p>
            <a:endParaRPr lang="en-US" sz="2000" dirty="0">
              <a:solidFill>
                <a:srgbClr val="FFFFFF"/>
              </a:solidFill>
            </a:endParaRPr>
          </a:p>
          <a:p>
            <a:endParaRPr lang="en-US" sz="2000" dirty="0">
              <a:solidFill>
                <a:srgbClr val="FFFFFF"/>
              </a:solidFill>
            </a:endParaRPr>
          </a:p>
          <a:p>
            <a:pPr lvl="0"/>
            <a:endParaRPr lang="en-US" sz="2400" dirty="0">
              <a:solidFill>
                <a:srgbClr val="FFFFFF"/>
              </a:solidFill>
            </a:endParaRPr>
          </a:p>
          <a:p>
            <a:pPr lvl="0"/>
            <a:endParaRPr lang="en-US" sz="2400" dirty="0">
              <a:solidFill>
                <a:srgbClr val="FFFFFF"/>
              </a:solidFill>
            </a:endParaRPr>
          </a:p>
          <a:p>
            <a:pPr lvl="0" algn="r"/>
            <a:endParaRPr lang="de-DE" sz="1600" dirty="0">
              <a:solidFill>
                <a:srgbClr val="FFFFFF"/>
              </a:solidFill>
            </a:endParaRPr>
          </a:p>
          <a:p>
            <a:pPr lvl="0" algn="r"/>
            <a:endParaRPr lang="de-DE" sz="1600" dirty="0">
              <a:solidFill>
                <a:srgbClr val="FFFFFF"/>
              </a:solidFill>
            </a:endParaRPr>
          </a:p>
          <a:p>
            <a:pPr lvl="0" algn="r"/>
            <a:r>
              <a:rPr lang="de-DE" sz="1600" dirty="0">
                <a:solidFill>
                  <a:srgbClr val="FFFFFF"/>
                </a:solidFill>
                <a:latin typeface="FlexoSoft Medium"/>
                <a:cs typeface="Calibri Light"/>
              </a:rPr>
              <a:t>27.07.2022</a:t>
            </a:r>
            <a:endParaRPr lang="en-US" sz="1600" dirty="0">
              <a:solidFill>
                <a:srgbClr val="FFFFFF"/>
              </a:solidFill>
              <a:latin typeface="FlexoSoft Medium"/>
              <a:cs typeface="Calibri Light"/>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dirty="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3748880</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4090820" y="2931678"/>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608542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12 (1/2)</a:t>
            </a:r>
            <a:br>
              <a:rPr lang="en-US"/>
            </a:br>
            <a:r>
              <a:rPr lang="en-GB"/>
              <a:t>Change for API backlog</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sp>
        <p:nvSpPr>
          <p:cNvPr id="6" name="Content Placeholder 2">
            <a:extLst>
              <a:ext uri="{FF2B5EF4-FFF2-40B4-BE49-F238E27FC236}">
                <a16:creationId xmlns:a16="http://schemas.microsoft.com/office/drawing/2014/main" id="{C9B4AE01-2C43-5F99-9B70-C93F6B39D465}"/>
              </a:ext>
            </a:extLst>
          </p:cNvPr>
          <p:cNvSpPr txBox="1">
            <a:spLocks/>
          </p:cNvSpPr>
          <p:nvPr/>
        </p:nvSpPr>
        <p:spPr>
          <a:xfrm>
            <a:off x="288924" y="1549782"/>
            <a:ext cx="7429688"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a:t>As-is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We keep different API backlogs, with no apparent relationship across them. </a:t>
            </a:r>
          </a:p>
          <a:p>
            <a:pPr marL="522900" lvl="1" indent="-342900">
              <a:lnSpc>
                <a:spcPct val="100000"/>
              </a:lnSpc>
              <a:spcBef>
                <a:spcPts val="0"/>
              </a:spcBef>
              <a:buFont typeface="Courier New" panose="02070309020205020404" pitchFamily="49" charset="0"/>
              <a:buChar char="o"/>
            </a:pPr>
            <a:r>
              <a:rPr lang="en-US" sz="1600">
                <a:solidFill>
                  <a:schemeClr val="tx1"/>
                </a:solidFill>
              </a:rPr>
              <a:t>Original CAMARA </a:t>
            </a:r>
            <a:r>
              <a:rPr lang="en-US" sz="1600">
                <a:solidFill>
                  <a:schemeClr val="tx1"/>
                </a:solidFill>
                <a:hlinkClick r:id="rId6"/>
              </a:rPr>
              <a:t>backlog</a:t>
            </a:r>
            <a:r>
              <a:rPr lang="en-US" sz="1600">
                <a:solidFill>
                  <a:schemeClr val="tx1"/>
                </a:solidFill>
              </a:rPr>
              <a:t> (2021Q4), with </a:t>
            </a:r>
            <a:r>
              <a:rPr lang="en-US" sz="1600">
                <a:solidFill>
                  <a:schemeClr val="tx1"/>
                </a:solidFill>
                <a:hlinkClick r:id="rId7"/>
              </a:rPr>
              <a:t>some proposals </a:t>
            </a:r>
            <a:r>
              <a:rPr lang="en-US" sz="1600">
                <a:solidFill>
                  <a:schemeClr val="tx1"/>
                </a:solidFill>
              </a:rPr>
              <a:t>for refinement (2022Q1)</a:t>
            </a:r>
          </a:p>
          <a:p>
            <a:pPr marL="522900" lvl="1" indent="-342900">
              <a:lnSpc>
                <a:spcPct val="100000"/>
              </a:lnSpc>
              <a:spcBef>
                <a:spcPts val="0"/>
              </a:spcBef>
              <a:buFont typeface="Courier New" panose="02070309020205020404" pitchFamily="49" charset="0"/>
              <a:buChar char="o"/>
            </a:pPr>
            <a:r>
              <a:rPr lang="en-US" sz="1600">
                <a:solidFill>
                  <a:schemeClr val="tx1"/>
                </a:solidFill>
              </a:rPr>
              <a:t>OPAG backlog (2022Q2), with a list of APIs sorted out in terms of priorities.</a:t>
            </a:r>
          </a:p>
          <a:p>
            <a:pPr marL="522900" lvl="1" indent="-342900">
              <a:lnSpc>
                <a:spcPct val="100000"/>
              </a:lnSpc>
              <a:spcBef>
                <a:spcPts val="0"/>
              </a:spcBef>
              <a:buFont typeface="Courier New" panose="02070309020205020404" pitchFamily="49" charset="0"/>
              <a:buChar char="o"/>
            </a:pPr>
            <a:r>
              <a:rPr lang="en-US" sz="1600">
                <a:solidFill>
                  <a:schemeClr val="tx1"/>
                </a:solidFill>
              </a:rPr>
              <a:t>Actual CAMARA backlog, capturing the proposals received from companies since API backlog WG kick-off. </a:t>
            </a:r>
          </a:p>
          <a:p>
            <a:pPr marL="522900" lvl="1" indent="-342900">
              <a:lnSpc>
                <a:spcPct val="100000"/>
              </a:lnSpc>
              <a:spcBef>
                <a:spcPts val="0"/>
              </a:spcBef>
              <a:buFont typeface="Courier New" panose="02070309020205020404" pitchFamily="49" charset="0"/>
              <a:buChar char="o"/>
            </a:pPr>
            <a:endParaRPr lang="en-US" sz="1600">
              <a:solidFill>
                <a:schemeClr val="tx1"/>
              </a:solidFill>
            </a:endParaRPr>
          </a:p>
          <a:p>
            <a:pPr>
              <a:lnSpc>
                <a:spcPct val="100000"/>
              </a:lnSpc>
              <a:spcBef>
                <a:spcPts val="0"/>
              </a:spcBef>
            </a:pPr>
            <a:endParaRPr lang="en-US" sz="2000" b="1" i="1" u="sng"/>
          </a:p>
          <a:p>
            <a:pPr>
              <a:lnSpc>
                <a:spcPct val="100000"/>
              </a:lnSpc>
              <a:spcBef>
                <a:spcPts val="0"/>
              </a:spcBef>
            </a:pPr>
            <a:r>
              <a:rPr lang="en-US" sz="2000" b="1" i="1" u="sng"/>
              <a:t>New approach</a:t>
            </a:r>
            <a:endParaRPr lang="en-US" sz="2000" i="1" u="sng"/>
          </a:p>
          <a:p>
            <a:pPr marL="342900" indent="-342900">
              <a:lnSpc>
                <a:spcPct val="100000"/>
              </a:lnSpc>
              <a:spcBef>
                <a:spcPts val="600"/>
              </a:spcBef>
              <a:buFont typeface="Arial" panose="020B0604020202020204" pitchFamily="34" charset="0"/>
              <a:buChar char="•"/>
            </a:pPr>
            <a:r>
              <a:rPr lang="en-US" sz="1800">
                <a:solidFill>
                  <a:schemeClr val="tx1"/>
                </a:solidFill>
              </a:rPr>
              <a:t>It is suggested to keep all the information in one single table.</a:t>
            </a:r>
          </a:p>
          <a:p>
            <a:pPr marL="522900" lvl="1" indent="-342900">
              <a:lnSpc>
                <a:spcPct val="100000"/>
              </a:lnSpc>
              <a:spcBef>
                <a:spcPts val="0"/>
              </a:spcBef>
              <a:buFont typeface="Courier New" panose="02070309020205020404" pitchFamily="49" charset="0"/>
              <a:buChar char="o"/>
            </a:pPr>
            <a:r>
              <a:rPr lang="en-US" sz="1600">
                <a:solidFill>
                  <a:schemeClr val="tx1"/>
                </a:solidFill>
              </a:rPr>
              <a:t>Easy to be managed</a:t>
            </a:r>
          </a:p>
          <a:p>
            <a:pPr marL="522900" lvl="1" indent="-342900">
              <a:lnSpc>
                <a:spcPct val="100000"/>
              </a:lnSpc>
              <a:spcBef>
                <a:spcPts val="0"/>
              </a:spcBef>
              <a:buFont typeface="Courier New" panose="02070309020205020404" pitchFamily="49" charset="0"/>
              <a:buChar char="o"/>
            </a:pPr>
            <a:r>
              <a:rPr lang="en-US" sz="1600">
                <a:solidFill>
                  <a:schemeClr val="tx1"/>
                </a:solidFill>
              </a:rPr>
              <a:t>One single entry point for external community. </a:t>
            </a:r>
          </a:p>
          <a:p>
            <a:pPr marL="342900" indent="-342900">
              <a:lnSpc>
                <a:spcPct val="100000"/>
              </a:lnSpc>
              <a:spcBef>
                <a:spcPts val="600"/>
              </a:spcBef>
              <a:buFont typeface="Arial" panose="020B0604020202020204" pitchFamily="34" charset="0"/>
              <a:buChar char="•"/>
            </a:pPr>
            <a:r>
              <a:rPr lang="en-US" sz="1800">
                <a:solidFill>
                  <a:schemeClr val="tx1"/>
                </a:solidFill>
              </a:rPr>
              <a:t>This table is to be called “API </a:t>
            </a:r>
            <a:r>
              <a:rPr lang="en-US" sz="1800" err="1">
                <a:solidFill>
                  <a:schemeClr val="tx1"/>
                </a:solidFill>
              </a:rPr>
              <a:t>backlog.md</a:t>
            </a:r>
            <a:r>
              <a:rPr lang="en-US" sz="1800">
                <a:solidFill>
                  <a:schemeClr val="tx1"/>
                </a:solidFill>
              </a:rPr>
              <a:t>”,  and it is to be allocated to “</a:t>
            </a:r>
            <a:r>
              <a:rPr lang="en-US" sz="1800" err="1">
                <a:solidFill>
                  <a:schemeClr val="tx1"/>
                </a:solidFill>
              </a:rPr>
              <a:t>APIBacklog</a:t>
            </a:r>
            <a:r>
              <a:rPr lang="en-US" sz="1800">
                <a:solidFill>
                  <a:schemeClr val="tx1"/>
                </a:solidFill>
              </a:rPr>
              <a:t>/</a:t>
            </a:r>
            <a:r>
              <a:rPr lang="en-US" sz="1800">
                <a:solidFill>
                  <a:srgbClr val="FF0000"/>
                </a:solidFill>
              </a:rPr>
              <a:t>TBD</a:t>
            </a:r>
            <a:r>
              <a:rPr lang="en-US" sz="1800">
                <a:solidFill>
                  <a:schemeClr val="tx1"/>
                </a:solidFill>
              </a:rPr>
              <a:t>” directory. </a:t>
            </a:r>
          </a:p>
          <a:p>
            <a:pPr marL="342900" indent="-342900">
              <a:lnSpc>
                <a:spcPct val="100000"/>
              </a:lnSpc>
              <a:spcBef>
                <a:spcPts val="600"/>
              </a:spcBef>
              <a:buFont typeface="Arial" panose="020B0604020202020204" pitchFamily="34" charset="0"/>
              <a:buChar char="•"/>
            </a:pPr>
            <a:endParaRPr lang="en-US" sz="1800">
              <a:solidFill>
                <a:schemeClr val="tx1"/>
              </a:solidFill>
            </a:endParaRPr>
          </a:p>
        </p:txBody>
      </p:sp>
      <p:pic>
        <p:nvPicPr>
          <p:cNvPr id="9" name="Picture 8">
            <a:extLst>
              <a:ext uri="{FF2B5EF4-FFF2-40B4-BE49-F238E27FC236}">
                <a16:creationId xmlns:a16="http://schemas.microsoft.com/office/drawing/2014/main" id="{5D3EA556-B553-30A7-FBC9-A30739B29437}"/>
              </a:ext>
            </a:extLst>
          </p:cNvPr>
          <p:cNvPicPr>
            <a:picLocks noChangeAspect="1"/>
          </p:cNvPicPr>
          <p:nvPr/>
        </p:nvPicPr>
        <p:blipFill>
          <a:blip r:embed="rId8"/>
          <a:stretch>
            <a:fillRect/>
          </a:stretch>
        </p:blipFill>
        <p:spPr>
          <a:xfrm>
            <a:off x="7956643" y="2828109"/>
            <a:ext cx="3177522" cy="828720"/>
          </a:xfrm>
          <a:prstGeom prst="rect">
            <a:avLst/>
          </a:prstGeom>
          <a:ln>
            <a:solidFill>
              <a:srgbClr val="FF0000"/>
            </a:solidFill>
          </a:ln>
        </p:spPr>
      </p:pic>
      <p:cxnSp>
        <p:nvCxnSpPr>
          <p:cNvPr id="11" name="Straight Arrow Connector 10">
            <a:extLst>
              <a:ext uri="{FF2B5EF4-FFF2-40B4-BE49-F238E27FC236}">
                <a16:creationId xmlns:a16="http://schemas.microsoft.com/office/drawing/2014/main" id="{CFDF395A-EB71-C916-D0ED-57B729F40A98}"/>
              </a:ext>
            </a:extLst>
          </p:cNvPr>
          <p:cNvCxnSpPr>
            <a:cxnSpLocks/>
          </p:cNvCxnSpPr>
          <p:nvPr/>
        </p:nvCxnSpPr>
        <p:spPr>
          <a:xfrm>
            <a:off x="2881688" y="2993889"/>
            <a:ext cx="5074955" cy="0"/>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72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dirty="0"/>
              <a:t>Issue #12 (2/2)</a:t>
            </a:r>
            <a:br>
              <a:rPr lang="en-US" dirty="0"/>
            </a:br>
            <a:r>
              <a:rPr lang="en-GB" dirty="0"/>
              <a:t>Change for API backlog</a:t>
            </a:r>
            <a:endParaRPr lang="en-US" dirty="0"/>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graphicFrame>
        <p:nvGraphicFramePr>
          <p:cNvPr id="8" name="Table 7">
            <a:extLst>
              <a:ext uri="{FF2B5EF4-FFF2-40B4-BE49-F238E27FC236}">
                <a16:creationId xmlns:a16="http://schemas.microsoft.com/office/drawing/2014/main" id="{4CF7DC9E-F5B1-686E-1CBF-4F640D9203F1}"/>
              </a:ext>
            </a:extLst>
          </p:cNvPr>
          <p:cNvGraphicFramePr>
            <a:graphicFrameLocks noGrp="1"/>
          </p:cNvGraphicFramePr>
          <p:nvPr>
            <p:extLst>
              <p:ext uri="{D42A27DB-BD31-4B8C-83A1-F6EECF244321}">
                <p14:modId xmlns:p14="http://schemas.microsoft.com/office/powerpoint/2010/main" val="3085091377"/>
              </p:ext>
            </p:extLst>
          </p:nvPr>
        </p:nvGraphicFramePr>
        <p:xfrm>
          <a:off x="671853" y="2575335"/>
          <a:ext cx="10402099" cy="3413760"/>
        </p:xfrm>
        <a:graphic>
          <a:graphicData uri="http://schemas.openxmlformats.org/drawingml/2006/table">
            <a:tbl>
              <a:tblPr firstRow="1" bandRow="1">
                <a:tableStyleId>{00A15C55-8517-42AA-B614-E9B94910E393}</a:tableStyleId>
              </a:tblPr>
              <a:tblGrid>
                <a:gridCol w="1390761">
                  <a:extLst>
                    <a:ext uri="{9D8B030D-6E8A-4147-A177-3AD203B41FA5}">
                      <a16:colId xmlns:a16="http://schemas.microsoft.com/office/drawing/2014/main" val="945373318"/>
                    </a:ext>
                  </a:extLst>
                </a:gridCol>
                <a:gridCol w="1441131">
                  <a:extLst>
                    <a:ext uri="{9D8B030D-6E8A-4147-A177-3AD203B41FA5}">
                      <a16:colId xmlns:a16="http://schemas.microsoft.com/office/drawing/2014/main" val="1673690420"/>
                    </a:ext>
                  </a:extLst>
                </a:gridCol>
                <a:gridCol w="1779455">
                  <a:extLst>
                    <a:ext uri="{9D8B030D-6E8A-4147-A177-3AD203B41FA5}">
                      <a16:colId xmlns:a16="http://schemas.microsoft.com/office/drawing/2014/main" val="2441616178"/>
                    </a:ext>
                  </a:extLst>
                </a:gridCol>
                <a:gridCol w="1218613">
                  <a:extLst>
                    <a:ext uri="{9D8B030D-6E8A-4147-A177-3AD203B41FA5}">
                      <a16:colId xmlns:a16="http://schemas.microsoft.com/office/drawing/2014/main" val="1305216806"/>
                    </a:ext>
                  </a:extLst>
                </a:gridCol>
                <a:gridCol w="1540837">
                  <a:extLst>
                    <a:ext uri="{9D8B030D-6E8A-4147-A177-3AD203B41FA5}">
                      <a16:colId xmlns:a16="http://schemas.microsoft.com/office/drawing/2014/main" val="1169310779"/>
                    </a:ext>
                  </a:extLst>
                </a:gridCol>
                <a:gridCol w="1574071">
                  <a:extLst>
                    <a:ext uri="{9D8B030D-6E8A-4147-A177-3AD203B41FA5}">
                      <a16:colId xmlns:a16="http://schemas.microsoft.com/office/drawing/2014/main" val="787258006"/>
                    </a:ext>
                  </a:extLst>
                </a:gridCol>
                <a:gridCol w="1457231">
                  <a:extLst>
                    <a:ext uri="{9D8B030D-6E8A-4147-A177-3AD203B41FA5}">
                      <a16:colId xmlns:a16="http://schemas.microsoft.com/office/drawing/2014/main" val="269536743"/>
                    </a:ext>
                  </a:extLst>
                </a:gridCol>
              </a:tblGrid>
              <a:tr h="0">
                <a:tc>
                  <a:txBody>
                    <a:bodyPr/>
                    <a:lstStyle/>
                    <a:p>
                      <a:pPr algn="ctr"/>
                      <a:r>
                        <a:rPr lang="en-ES" sz="1400" dirty="0"/>
                        <a:t>API proposal name</a:t>
                      </a:r>
                    </a:p>
                  </a:txBody>
                  <a:tcPr/>
                </a:tc>
                <a:tc>
                  <a:txBody>
                    <a:bodyPr/>
                    <a:lstStyle/>
                    <a:p>
                      <a:pPr algn="ctr"/>
                      <a:r>
                        <a:rPr lang="en-ES" sz="1400" dirty="0"/>
                        <a:t>API proposal owner</a:t>
                      </a:r>
                    </a:p>
                  </a:txBody>
                  <a:tcPr/>
                </a:tc>
                <a:tc>
                  <a:txBody>
                    <a:bodyPr/>
                    <a:lstStyle/>
                    <a:p>
                      <a:pPr algn="ctr"/>
                      <a:r>
                        <a:rPr lang="en-ES" sz="1400" dirty="0"/>
                        <a:t>Market value  (customer priority) &amp; technical feasibility</a:t>
                      </a:r>
                    </a:p>
                  </a:txBody>
                  <a:tcPr/>
                </a:tc>
                <a:tc>
                  <a:txBody>
                    <a:bodyPr/>
                    <a:lstStyle/>
                    <a:p>
                      <a:pPr algn="ctr"/>
                      <a:r>
                        <a:rPr lang="en-ES" sz="1400" dirty="0"/>
                        <a:t>API proposal registration date</a:t>
                      </a:r>
                    </a:p>
                  </a:txBody>
                  <a:tcPr/>
                </a:tc>
                <a:tc>
                  <a:txBody>
                    <a:bodyPr/>
                    <a:lstStyle/>
                    <a:p>
                      <a:pPr algn="ctr"/>
                      <a:r>
                        <a:rPr lang="en-ES" sz="1400" dirty="0"/>
                        <a:t>Status</a:t>
                      </a:r>
                    </a:p>
                  </a:txBody>
                  <a:tcPr/>
                </a:tc>
                <a:tc>
                  <a:txBody>
                    <a:bodyPr/>
                    <a:lstStyle/>
                    <a:p>
                      <a:pPr algn="ctr"/>
                      <a:r>
                        <a:rPr lang="en-ES" sz="1400" dirty="0"/>
                        <a:t>API proposal supporters</a:t>
                      </a:r>
                    </a:p>
                  </a:txBody>
                  <a:tcPr/>
                </a:tc>
                <a:tc>
                  <a:txBody>
                    <a:bodyPr/>
                    <a:lstStyle/>
                    <a:p>
                      <a:pPr algn="ctr"/>
                      <a:r>
                        <a:rPr lang="en-ES" sz="1400" dirty="0"/>
                        <a:t>Link to the filled-in template</a:t>
                      </a:r>
                    </a:p>
                  </a:txBody>
                  <a:tcPr/>
                </a:tc>
                <a:extLst>
                  <a:ext uri="{0D108BD9-81ED-4DB2-BD59-A6C34878D82A}">
                    <a16:rowId xmlns:a16="http://schemas.microsoft.com/office/drawing/2014/main" val="1589122693"/>
                  </a:ext>
                </a:extLst>
              </a:tr>
              <a:tr h="234542">
                <a:tc>
                  <a:txBody>
                    <a:bodyPr/>
                    <a:lstStyle/>
                    <a:p>
                      <a:pPr algn="ctr"/>
                      <a:r>
                        <a:rPr lang="en-ES" sz="1200" b="1">
                          <a:solidFill>
                            <a:schemeClr val="tx1"/>
                          </a:solidFill>
                        </a:rPr>
                        <a:t>Name 1</a:t>
                      </a:r>
                    </a:p>
                  </a:txBody>
                  <a:tcPr/>
                </a:tc>
                <a:tc>
                  <a:txBody>
                    <a:bodyPr/>
                    <a:lstStyle/>
                    <a:p>
                      <a:pPr algn="ctr"/>
                      <a:r>
                        <a:rPr lang="en-ES" sz="1200" b="1" dirty="0">
                          <a:solidFill>
                            <a:schemeClr val="tx1"/>
                          </a:solidFill>
                        </a:rPr>
                        <a:t>Company “X”</a:t>
                      </a:r>
                    </a:p>
                  </a:txBody>
                  <a:tcPr/>
                </a:tc>
                <a:tc>
                  <a:txBody>
                    <a:bodyPr/>
                    <a:lstStyle/>
                    <a:p>
                      <a:pPr algn="ctr"/>
                      <a:r>
                        <a:rPr lang="en-ES" sz="1200" b="1" dirty="0">
                          <a:solidFill>
                            <a:schemeClr val="tx1"/>
                          </a:solidFill>
                        </a:rPr>
                        <a:t>NOTE 1</a:t>
                      </a:r>
                    </a:p>
                  </a:txBody>
                  <a:tcPr/>
                </a:tc>
                <a:tc>
                  <a:txBody>
                    <a:bodyPr/>
                    <a:lstStyle/>
                    <a:p>
                      <a:pPr algn="ctr"/>
                      <a:r>
                        <a:rPr lang="en-ES" sz="1200" b="1">
                          <a:solidFill>
                            <a:schemeClr val="tx1"/>
                          </a:solidFill>
                        </a:rPr>
                        <a:t>YYYY/MM/DD</a:t>
                      </a:r>
                    </a:p>
                  </a:txBody>
                  <a:tcPr/>
                </a:tc>
                <a:tc>
                  <a:txBody>
                    <a:bodyPr/>
                    <a:lstStyle/>
                    <a:p>
                      <a:pPr algn="ctr"/>
                      <a:r>
                        <a:rPr lang="en-ES" sz="1200" b="1">
                          <a:solidFill>
                            <a:schemeClr val="tx1"/>
                          </a:solidFill>
                        </a:rPr>
                        <a:t>NOTE 2</a:t>
                      </a:r>
                    </a:p>
                  </a:txBody>
                  <a:tcPr/>
                </a:tc>
                <a:tc>
                  <a:txBody>
                    <a:bodyPr/>
                    <a:lstStyle/>
                    <a:p>
                      <a:pPr algn="ctr"/>
                      <a:r>
                        <a:rPr lang="en-ES" sz="1200" b="1">
                          <a:solidFill>
                            <a:schemeClr val="tx1"/>
                          </a:solidFill>
                        </a:rPr>
                        <a:t>Company “A”, “B”</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3913404557"/>
                  </a:ext>
                </a:extLst>
              </a:tr>
              <a:tr h="234542">
                <a:tc>
                  <a:txBody>
                    <a:bodyPr/>
                    <a:lstStyle/>
                    <a:p>
                      <a:pPr algn="ctr"/>
                      <a:r>
                        <a:rPr lang="en-ES" sz="1200" b="1">
                          <a:solidFill>
                            <a:schemeClr val="tx1"/>
                          </a:solidFill>
                        </a:rPr>
                        <a:t>Name 2</a:t>
                      </a:r>
                    </a:p>
                  </a:txBody>
                  <a:tcPr/>
                </a:tc>
                <a:tc>
                  <a:txBody>
                    <a:bodyPr/>
                    <a:lstStyle/>
                    <a:p>
                      <a:pPr algn="ctr"/>
                      <a:r>
                        <a:rPr lang="en-ES" sz="1200" b="1">
                          <a:solidFill>
                            <a:schemeClr val="tx1"/>
                          </a:solidFill>
                        </a:rPr>
                        <a:t>Company “A”</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a:solidFill>
                            <a:schemeClr val="tx1"/>
                          </a:solidFill>
                        </a:rPr>
                        <a:t>Company “C”</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1789357893"/>
                  </a:ext>
                </a:extLst>
              </a:tr>
              <a:tr h="174555">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a:solidFill>
                            <a:schemeClr val="tx1"/>
                          </a:solidFill>
                        </a:rPr>
                        <a:t>….</a:t>
                      </a:r>
                    </a:p>
                  </a:txBody>
                  <a:tcPr/>
                </a:tc>
                <a:tc>
                  <a:txBody>
                    <a:bodyPr/>
                    <a:lstStyle/>
                    <a:p>
                      <a:pPr algn="ctr"/>
                      <a:endParaRPr lang="en-ES" sz="1200" b="1">
                        <a:solidFill>
                          <a:schemeClr val="tx1"/>
                        </a:solidFill>
                      </a:endParaRPr>
                    </a:p>
                  </a:txBody>
                  <a:tcPr/>
                </a:tc>
                <a:extLst>
                  <a:ext uri="{0D108BD9-81ED-4DB2-BD59-A6C34878D82A}">
                    <a16:rowId xmlns:a16="http://schemas.microsoft.com/office/drawing/2014/main" val="2855904999"/>
                  </a:ext>
                </a:extLst>
              </a:tr>
              <a:tr h="0">
                <a:tc>
                  <a:txBody>
                    <a:bodyPr/>
                    <a:lstStyle/>
                    <a:p>
                      <a:pPr algn="ctr"/>
                      <a:r>
                        <a:rPr lang="en-ES" sz="1200" b="1">
                          <a:solidFill>
                            <a:schemeClr val="tx1"/>
                          </a:solidFill>
                        </a:rPr>
                        <a:t>Name N</a:t>
                      </a:r>
                    </a:p>
                  </a:txBody>
                  <a:tcPr/>
                </a:tc>
                <a:tc>
                  <a:txBody>
                    <a:bodyPr/>
                    <a:lstStyle/>
                    <a:p>
                      <a:pPr algn="ctr"/>
                      <a:r>
                        <a:rPr lang="en-ES" sz="1200" b="1" dirty="0">
                          <a:solidFill>
                            <a:schemeClr val="tx1"/>
                          </a:solidFill>
                        </a:rPr>
                        <a:t>OPAG</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dirty="0">
                          <a:solidFill>
                            <a:schemeClr val="tx1"/>
                          </a:solidFill>
                        </a:rPr>
                        <a:t>Company “A”, “B”,…</a:t>
                      </a:r>
                    </a:p>
                  </a:txBody>
                  <a:tcPr/>
                </a:tc>
                <a:tc>
                  <a:txBody>
                    <a:bodyPr/>
                    <a:lstStyle/>
                    <a:p>
                      <a:pPr algn="ctr"/>
                      <a:r>
                        <a:rPr lang="en-ES" sz="1200" b="1" dirty="0">
                          <a:solidFill>
                            <a:schemeClr val="tx1"/>
                          </a:solidFill>
                        </a:rPr>
                        <a:t>NOTE 3</a:t>
                      </a:r>
                    </a:p>
                  </a:txBody>
                  <a:tcPr/>
                </a:tc>
                <a:extLst>
                  <a:ext uri="{0D108BD9-81ED-4DB2-BD59-A6C34878D82A}">
                    <a16:rowId xmlns:a16="http://schemas.microsoft.com/office/drawing/2014/main" val="3143621167"/>
                  </a:ext>
                </a:extLst>
              </a:tr>
              <a:tr h="0">
                <a:tc gridSpan="7">
                  <a:txBody>
                    <a:bodyPr/>
                    <a:lstStyle/>
                    <a:p>
                      <a:pPr algn="l"/>
                      <a:r>
                        <a:rPr lang="en-ES" sz="1200" b="0" dirty="0">
                          <a:solidFill>
                            <a:schemeClr val="tx1"/>
                          </a:solidFill>
                        </a:rPr>
                        <a:t>NOTE 1: We need to agree on how this priority should be captured, either with numbers (what is the scale) or with other tags (short-term, medium-term, long-term).  </a:t>
                      </a:r>
                      <a:r>
                        <a:rPr lang="en-ES" sz="1200" b="0" dirty="0">
                          <a:solidFill>
                            <a:schemeClr val="tx1"/>
                          </a:solidFill>
                          <a:highlight>
                            <a:srgbClr val="00FFFF"/>
                          </a:highlight>
                        </a:rPr>
                        <a:t>Who is sup</a:t>
                      </a:r>
                      <a:r>
                        <a:rPr lang="en-GB" sz="1200" b="0" dirty="0">
                          <a:solidFill>
                            <a:schemeClr val="tx1"/>
                          </a:solidFill>
                          <a:highlight>
                            <a:srgbClr val="00FFFF"/>
                          </a:highlight>
                        </a:rPr>
                        <a:t>p</a:t>
                      </a:r>
                      <a:r>
                        <a:rPr lang="en-ES" sz="1200" b="0" dirty="0">
                          <a:solidFill>
                            <a:schemeClr val="tx1"/>
                          </a:solidFill>
                          <a:highlight>
                            <a:srgbClr val="00FFFF"/>
                          </a:highlight>
                        </a:rPr>
                        <a:t>osed to fill out the priority? Should be the API backlow WG or the SteerCo?</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b="0" dirty="0">
                          <a:solidFill>
                            <a:schemeClr val="tx1"/>
                          </a:solidFill>
                        </a:rPr>
                        <a:t>NOTE 2: </a:t>
                      </a:r>
                      <a:r>
                        <a:rPr lang="en-ES" sz="1200" dirty="0">
                          <a:solidFill>
                            <a:schemeClr val="tx1"/>
                          </a:solidFill>
                        </a:rPr>
                        <a:t>Submitted (before time window 1); under evaluation (time window 1); seeking for supporters (time window 2); ready for SteerCo approval (after time window 2);</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dirty="0">
                          <a:solidFill>
                            <a:schemeClr val="tx1"/>
                          </a:solidFill>
                        </a:rPr>
                        <a:t>NOTE 3: U</a:t>
                      </a:r>
                      <a:r>
                        <a:rPr lang="en-GB" sz="1200" dirty="0">
                          <a:solidFill>
                            <a:schemeClr val="tx1"/>
                          </a:solidFill>
                        </a:rPr>
                        <a:t>RL where the filled-in template (slide 7) for API proposal has been submitted. If no URL is specified, it is assumed that no submission has been done yet; in such a case, the API is captured in the backlog for guidance/reference for future submissions. </a:t>
                      </a:r>
                      <a:endParaRPr lang="en-ES" sz="1200"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ES" sz="1200" dirty="0">
                        <a:solidFill>
                          <a:schemeClr val="tx1"/>
                        </a:solidFill>
                      </a:endParaRPr>
                    </a:p>
                  </a:txBody>
                  <a:tcPr/>
                </a:tc>
                <a:extLst>
                  <a:ext uri="{0D108BD9-81ED-4DB2-BD59-A6C34878D82A}">
                    <a16:rowId xmlns:a16="http://schemas.microsoft.com/office/drawing/2014/main" val="26302636"/>
                  </a:ext>
                </a:extLst>
              </a:tr>
            </a:tbl>
          </a:graphicData>
        </a:graphic>
      </p:graphicFrame>
      <p:sp>
        <p:nvSpPr>
          <p:cNvPr id="10" name="Content Placeholder 2">
            <a:extLst>
              <a:ext uri="{FF2B5EF4-FFF2-40B4-BE49-F238E27FC236}">
                <a16:creationId xmlns:a16="http://schemas.microsoft.com/office/drawing/2014/main" id="{4A505AEF-500A-D96A-BCD6-5067E0E8F6E8}"/>
              </a:ext>
            </a:extLst>
          </p:cNvPr>
          <p:cNvSpPr txBox="1">
            <a:spLocks/>
          </p:cNvSpPr>
          <p:nvPr/>
        </p:nvSpPr>
        <p:spPr>
          <a:xfrm>
            <a:off x="288923" y="1261888"/>
            <a:ext cx="1071289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Once a partner/customer/OPAG submits the API proposal with the filled-in template in slide 7, a new entry is added to “API </a:t>
            </a:r>
            <a:r>
              <a:rPr lang="en-US" sz="1800" dirty="0" err="1">
                <a:solidFill>
                  <a:schemeClr val="tx1"/>
                </a:solidFill>
              </a:rPr>
              <a:t>backlog.md</a:t>
            </a:r>
            <a:r>
              <a:rPr lang="en-US" sz="1800" dirty="0">
                <a:solidFill>
                  <a:schemeClr val="tx1"/>
                </a:solidFill>
              </a:rPr>
              <a:t>”.</a:t>
            </a:r>
          </a:p>
          <a:p>
            <a:pPr marL="285750" indent="-285750">
              <a:lnSpc>
                <a:spcPct val="100000"/>
              </a:lnSpc>
              <a:spcBef>
                <a:spcPts val="600"/>
              </a:spcBef>
              <a:buFont typeface="Arial" panose="020B0604020202020204" pitchFamily="34" charset="0"/>
              <a:buChar char="•"/>
            </a:pPr>
            <a:r>
              <a:rPr lang="en-US" sz="1800" dirty="0">
                <a:solidFill>
                  <a:schemeClr val="tx1"/>
                </a:solidFill>
              </a:rPr>
              <a:t>API </a:t>
            </a:r>
            <a:r>
              <a:rPr lang="en-US" sz="1800" dirty="0" err="1">
                <a:solidFill>
                  <a:schemeClr val="tx1"/>
                </a:solidFill>
              </a:rPr>
              <a:t>backlog.md</a:t>
            </a:r>
            <a:r>
              <a:rPr lang="en-US" sz="1800" dirty="0">
                <a:solidFill>
                  <a:schemeClr val="tx1"/>
                </a:solidFill>
              </a:rPr>
              <a:t> </a:t>
            </a:r>
            <a:r>
              <a:rPr lang="en-US" sz="1800">
                <a:solidFill>
                  <a:schemeClr val="tx1"/>
                </a:solidFill>
              </a:rPr>
              <a:t>file structure</a:t>
            </a:r>
            <a:r>
              <a:rPr lang="en-US" sz="1800" dirty="0">
                <a:solidFill>
                  <a:schemeClr val="tx1"/>
                </a:solidFill>
              </a:rPr>
              <a:t>.</a:t>
            </a:r>
          </a:p>
        </p:txBody>
      </p:sp>
    </p:spTree>
    <p:extLst>
      <p:ext uri="{BB962C8B-B14F-4D97-AF65-F5344CB8AC3E}">
        <p14:creationId xmlns:p14="http://schemas.microsoft.com/office/powerpoint/2010/main" val="3333392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7464594" y="2890637"/>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6237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9</a:t>
            </a:r>
            <a:br>
              <a:rPr lang="en-US"/>
            </a:br>
            <a:r>
              <a:rPr lang="en-GB"/>
              <a:t>Complete release of an API  - checklist </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pic>
        <p:nvPicPr>
          <p:cNvPr id="3" name="Picture 2" descr="Diagram&#10;&#10;Description automatically generated">
            <a:extLst>
              <a:ext uri="{FF2B5EF4-FFF2-40B4-BE49-F238E27FC236}">
                <a16:creationId xmlns:a16="http://schemas.microsoft.com/office/drawing/2014/main" id="{52BD9A54-4FED-4D36-B449-4D3474D592A3}"/>
              </a:ext>
            </a:extLst>
          </p:cNvPr>
          <p:cNvPicPr>
            <a:picLocks noChangeAspect="1"/>
          </p:cNvPicPr>
          <p:nvPr/>
        </p:nvPicPr>
        <p:blipFill>
          <a:blip r:embed="rId6"/>
          <a:stretch>
            <a:fillRect/>
          </a:stretch>
        </p:blipFill>
        <p:spPr>
          <a:xfrm>
            <a:off x="3382672" y="1025505"/>
            <a:ext cx="4525396" cy="2388155"/>
          </a:xfrm>
          <a:prstGeom prst="rect">
            <a:avLst/>
          </a:prstGeom>
          <a:solidFill>
            <a:schemeClr val="accent1"/>
          </a:solidFill>
        </p:spPr>
      </p:pic>
      <p:sp>
        <p:nvSpPr>
          <p:cNvPr id="10" name="Content Placeholder 2">
            <a:extLst>
              <a:ext uri="{FF2B5EF4-FFF2-40B4-BE49-F238E27FC236}">
                <a16:creationId xmlns:a16="http://schemas.microsoft.com/office/drawing/2014/main" id="{8C41BD76-2D53-3F10-7ED7-A952306A6FB5}"/>
              </a:ext>
            </a:extLst>
          </p:cNvPr>
          <p:cNvSpPr txBox="1">
            <a:spLocks/>
          </p:cNvSpPr>
          <p:nvPr/>
        </p:nvSpPr>
        <p:spPr>
          <a:xfrm>
            <a:off x="288924" y="3496422"/>
            <a:ext cx="5130242"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Implementation -&gt; validation</a:t>
            </a:r>
            <a:endParaRPr lang="en-US" sz="2000" i="1" u="sng" dirty="0"/>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available. </a:t>
            </a:r>
          </a:p>
          <a:p>
            <a:pPr marL="285750" indent="-285750">
              <a:lnSpc>
                <a:spcPct val="100000"/>
              </a:lnSpc>
              <a:spcBef>
                <a:spcPts val="600"/>
              </a:spcBef>
              <a:buSzPct val="100000"/>
              <a:buFont typeface="Arial" panose="020B0604020202020204" pitchFamily="34" charset="0"/>
              <a:buChar char="•"/>
            </a:pPr>
            <a:r>
              <a:rPr lang="en-US" sz="1600" dirty="0">
                <a:solidFill>
                  <a:schemeClr val="tx1"/>
                </a:solidFill>
              </a:rPr>
              <a:t>YAML code compliant with documented API design guidelines: structure  (headers/notifications,..) and </a:t>
            </a:r>
            <a:r>
              <a:rPr lang="en-US" sz="1600" dirty="0">
                <a:solidFill>
                  <a:schemeClr val="tx1"/>
                </a:solidFill>
                <a:hlinkClick r:id="rId7"/>
              </a:rPr>
              <a:t>AuthN / Z</a:t>
            </a:r>
            <a:endParaRPr lang="en-US" sz="1600" dirty="0">
              <a:solidFill>
                <a:schemeClr val="tx1"/>
              </a:solidFill>
            </a:endParaRPr>
          </a:p>
          <a:p>
            <a:pPr marL="285750" indent="-285750">
              <a:lnSpc>
                <a:spcPct val="100000"/>
              </a:lnSpc>
              <a:spcBef>
                <a:spcPts val="0"/>
              </a:spcBef>
              <a:buSzPct val="100000"/>
              <a:buFont typeface="Arial" panose="020B0604020202020204" pitchFamily="34" charset="0"/>
              <a:buChar char="•"/>
            </a:pPr>
            <a:r>
              <a:rPr lang="en-US" sz="1600" dirty="0">
                <a:solidFill>
                  <a:schemeClr val="tx1"/>
                </a:solidFill>
              </a:rPr>
              <a:t>API Test Plan (ATP) documentation available: list of test cases.  </a:t>
            </a:r>
          </a:p>
          <a:p>
            <a:pPr marL="285750" indent="-285750">
              <a:lnSpc>
                <a:spcPct val="100000"/>
              </a:lnSpc>
              <a:spcBef>
                <a:spcPts val="0"/>
              </a:spcBef>
              <a:buSzPct val="100000"/>
              <a:buFont typeface="Arial" panose="020B0604020202020204" pitchFamily="34" charset="0"/>
              <a:buChar char="•"/>
            </a:pPr>
            <a:r>
              <a:rPr lang="en-US" sz="1600" dirty="0">
                <a:solidFill>
                  <a:schemeClr val="tx1"/>
                </a:solidFill>
                <a:hlinkClick r:id="rId8"/>
              </a:rPr>
              <a:t>API documentation </a:t>
            </a:r>
            <a:r>
              <a:rPr lang="en-US" sz="1600" dirty="0">
                <a:solidFill>
                  <a:schemeClr val="tx1"/>
                </a:solidFill>
              </a:rPr>
              <a:t>available, with information on release/versioning.</a:t>
            </a:r>
          </a:p>
          <a:p>
            <a:pPr marL="285750" indent="-285750">
              <a:lnSpc>
                <a:spcPct val="100000"/>
              </a:lnSpc>
              <a:spcBef>
                <a:spcPts val="0"/>
              </a:spcBef>
              <a:buSzPct val="100000"/>
              <a:buFont typeface="Arial" panose="020B0604020202020204" pitchFamily="34" charset="0"/>
              <a:buChar char="•"/>
            </a:pPr>
            <a:r>
              <a:rPr lang="en-US" sz="1600" dirty="0">
                <a:solidFill>
                  <a:srgbClr val="FF0000"/>
                </a:solidFill>
              </a:rPr>
              <a:t>Release cycle: {4-6} months. Each API release incorporates add-ons or fix bugs.</a:t>
            </a: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2" name="Content Placeholder 2">
            <a:extLst>
              <a:ext uri="{FF2B5EF4-FFF2-40B4-BE49-F238E27FC236}">
                <a16:creationId xmlns:a16="http://schemas.microsoft.com/office/drawing/2014/main" id="{CC4170EB-BBDC-D347-CA3D-A6C4C307D633}"/>
              </a:ext>
            </a:extLst>
          </p:cNvPr>
          <p:cNvSpPr txBox="1">
            <a:spLocks/>
          </p:cNvSpPr>
          <p:nvPr/>
        </p:nvSpPr>
        <p:spPr>
          <a:xfrm>
            <a:off x="5761036" y="3595225"/>
            <a:ext cx="547211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Validation -&gt; deployment/rollout  </a:t>
            </a:r>
            <a:endParaRPr lang="en-US" sz="2000" i="1" u="sng" dirty="0"/>
          </a:p>
          <a:p>
            <a:pPr marL="342900" indent="-342900">
              <a:lnSpc>
                <a:spcPct val="100000"/>
              </a:lnSpc>
              <a:spcBef>
                <a:spcPts val="600"/>
              </a:spcBef>
              <a:buFont typeface="Arial" panose="020B0604020202020204" pitchFamily="34" charset="0"/>
              <a:buChar char="•"/>
            </a:pPr>
            <a:r>
              <a:rPr lang="en-US" sz="1600" dirty="0">
                <a:solidFill>
                  <a:schemeClr val="tx1"/>
                </a:solidFill>
              </a:rPr>
              <a:t>Tested by at least 2 operators. </a:t>
            </a:r>
          </a:p>
          <a:p>
            <a:pPr marL="342900" indent="-342900">
              <a:lnSpc>
                <a:spcPct val="100000"/>
              </a:lnSpc>
              <a:spcBef>
                <a:spcPts val="0"/>
              </a:spcBef>
              <a:buFont typeface="Arial" panose="020B0604020202020204" pitchFamily="34" charset="0"/>
              <a:buChar char="•"/>
            </a:pPr>
            <a:r>
              <a:rPr lang="en-US" sz="1600" dirty="0">
                <a:solidFill>
                  <a:schemeClr val="tx1"/>
                </a:solidFill>
              </a:rPr>
              <a:t>Service API package available, containing: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YAML code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API documentation</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esting campaign documentation, with test cases validated and results. </a:t>
            </a:r>
          </a:p>
          <a:p>
            <a:pPr>
              <a:lnSpc>
                <a:spcPct val="100000"/>
              </a:lnSpc>
              <a:spcBef>
                <a:spcPts val="0"/>
              </a:spcBef>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sp>
        <p:nvSpPr>
          <p:cNvPr id="13" name="Rectangle 12">
            <a:extLst>
              <a:ext uri="{FF2B5EF4-FFF2-40B4-BE49-F238E27FC236}">
                <a16:creationId xmlns:a16="http://schemas.microsoft.com/office/drawing/2014/main" id="{D933B52C-EA79-AB7D-FFA2-33AF09588CB8}"/>
              </a:ext>
            </a:extLst>
          </p:cNvPr>
          <p:cNvSpPr/>
          <p:nvPr/>
        </p:nvSpPr>
        <p:spPr>
          <a:xfrm>
            <a:off x="3382672" y="1041545"/>
            <a:ext cx="4525396" cy="103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2424840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llipse 4">
            <a:extLst>
              <a:ext uri="{FF2B5EF4-FFF2-40B4-BE49-F238E27FC236}">
                <a16:creationId xmlns:a16="http://schemas.microsoft.com/office/drawing/2014/main" id="{A2B96629-ED9D-4503-A08E-A7C48636CCA9}"/>
              </a:ext>
            </a:extLst>
          </p:cNvPr>
          <p:cNvSpPr/>
          <p:nvPr/>
        </p:nvSpPr>
        <p:spPr>
          <a:xfrm>
            <a:off x="6210302" y="3055037"/>
            <a:ext cx="4348161" cy="4348161"/>
          </a:xfrm>
          <a:prstGeom prst="ellipse">
            <a:avLst/>
          </a:prstGeom>
          <a:solidFill>
            <a:srgbClr val="FFFFFF">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200">
                <a:solidFill>
                  <a:srgbClr val="FFFFFF"/>
                </a:solidFill>
                <a:latin typeface="FlexoSoft Medium" panose="02000000000000000000" pitchFamily="2" charset="0"/>
                <a:ea typeface="Typold Book" panose="020B0004030204060B03" pitchFamily="34" charset="0"/>
              </a:rPr>
              <a:t>Q&amp;A</a:t>
            </a:r>
          </a:p>
        </p:txBody>
      </p:sp>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ítulo 2">
            <a:extLst>
              <a:ext uri="{FF2B5EF4-FFF2-40B4-BE49-F238E27FC236}">
                <a16:creationId xmlns:a16="http://schemas.microsoft.com/office/drawing/2014/main" id="{1CFB9269-C438-984A-B95E-196188765EE5}"/>
              </a:ext>
            </a:extLst>
          </p:cNvPr>
          <p:cNvSpPr>
            <a:spLocks noGrp="1"/>
          </p:cNvSpPr>
          <p:nvPr>
            <p:ph type="title"/>
          </p:nvPr>
        </p:nvSpPr>
        <p:spPr>
          <a:xfrm>
            <a:off x="385082" y="578031"/>
            <a:ext cx="10640628" cy="756934"/>
          </a:xfrm>
        </p:spPr>
        <p:txBody>
          <a:bodyPr/>
          <a:lstStyle/>
          <a:p>
            <a:r>
              <a:rPr lang="es-ES" dirty="0"/>
              <a:t>CAMARA </a:t>
            </a:r>
            <a:r>
              <a:rPr lang="es-ES" dirty="0" err="1"/>
              <a:t>governance</a:t>
            </a:r>
            <a:r>
              <a:rPr lang="es-ES"/>
              <a:t> </a:t>
            </a:r>
            <a:r>
              <a:rPr lang="es-ES" err="1"/>
              <a:t>structure</a:t>
            </a:r>
            <a:endParaRPr lang="es-ES"/>
          </a:p>
        </p:txBody>
      </p:sp>
      <p:sp>
        <p:nvSpPr>
          <p:cNvPr id="147" name="Rounded Rectangle 146">
            <a:extLst>
              <a:ext uri="{FF2B5EF4-FFF2-40B4-BE49-F238E27FC236}">
                <a16:creationId xmlns:a16="http://schemas.microsoft.com/office/drawing/2014/main" id="{348806D6-97A2-AC41-9611-9AD9531C4FAC}"/>
              </a:ext>
            </a:extLst>
          </p:cNvPr>
          <p:cNvSpPr/>
          <p:nvPr/>
        </p:nvSpPr>
        <p:spPr>
          <a:xfrm>
            <a:off x="639798" y="1637298"/>
            <a:ext cx="7741436" cy="619011"/>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646" b="1"/>
              <a:t>Steering Committee</a:t>
            </a:r>
          </a:p>
        </p:txBody>
      </p:sp>
      <p:sp>
        <p:nvSpPr>
          <p:cNvPr id="148" name="Rounded Rectangle 147">
            <a:extLst>
              <a:ext uri="{FF2B5EF4-FFF2-40B4-BE49-F238E27FC236}">
                <a16:creationId xmlns:a16="http://schemas.microsoft.com/office/drawing/2014/main" id="{B285101B-BE9E-0294-A85B-D933DE51EA2D}"/>
              </a:ext>
            </a:extLst>
          </p:cNvPr>
          <p:cNvSpPr/>
          <p:nvPr/>
        </p:nvSpPr>
        <p:spPr>
          <a:xfrm>
            <a:off x="639799" y="3269241"/>
            <a:ext cx="2339595" cy="96730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a:t>Commonalities WG</a:t>
            </a:r>
          </a:p>
        </p:txBody>
      </p:sp>
      <p:sp>
        <p:nvSpPr>
          <p:cNvPr id="150" name="Rounded Rectangle 149">
            <a:extLst>
              <a:ext uri="{FF2B5EF4-FFF2-40B4-BE49-F238E27FC236}">
                <a16:creationId xmlns:a16="http://schemas.microsoft.com/office/drawing/2014/main" id="{727421FC-2EF9-B73C-52E5-622ED47CE5C2}"/>
              </a:ext>
            </a:extLst>
          </p:cNvPr>
          <p:cNvSpPr/>
          <p:nvPr/>
        </p:nvSpPr>
        <p:spPr>
          <a:xfrm>
            <a:off x="6416242" y="3269239"/>
            <a:ext cx="2024299" cy="95416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dirty="0"/>
              <a:t>API backlog WG</a:t>
            </a:r>
          </a:p>
        </p:txBody>
      </p:sp>
      <p:sp>
        <p:nvSpPr>
          <p:cNvPr id="151" name="Rounded Rectangle 150">
            <a:extLst>
              <a:ext uri="{FF2B5EF4-FFF2-40B4-BE49-F238E27FC236}">
                <a16:creationId xmlns:a16="http://schemas.microsoft.com/office/drawing/2014/main" id="{6684581F-F31E-6209-2010-52EA325997DF}"/>
              </a:ext>
            </a:extLst>
          </p:cNvPr>
          <p:cNvSpPr/>
          <p:nvPr/>
        </p:nvSpPr>
        <p:spPr>
          <a:xfrm>
            <a:off x="4229434" y="3422756"/>
            <a:ext cx="1110502"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QoD API</a:t>
            </a:r>
          </a:p>
        </p:txBody>
      </p:sp>
      <p:sp>
        <p:nvSpPr>
          <p:cNvPr id="152" name="Rounded Rectangle 151">
            <a:extLst>
              <a:ext uri="{FF2B5EF4-FFF2-40B4-BE49-F238E27FC236}">
                <a16:creationId xmlns:a16="http://schemas.microsoft.com/office/drawing/2014/main" id="{07B6D236-BF79-4379-1D7F-701B9614FD5B}"/>
              </a:ext>
            </a:extLst>
          </p:cNvPr>
          <p:cNvSpPr/>
          <p:nvPr/>
        </p:nvSpPr>
        <p:spPr>
          <a:xfrm>
            <a:off x="4229434" y="3804828"/>
            <a:ext cx="1089026" cy="49635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Edge Cloud API</a:t>
            </a:r>
          </a:p>
        </p:txBody>
      </p:sp>
      <p:sp>
        <p:nvSpPr>
          <p:cNvPr id="154" name="TextBox 153">
            <a:extLst>
              <a:ext uri="{FF2B5EF4-FFF2-40B4-BE49-F238E27FC236}">
                <a16:creationId xmlns:a16="http://schemas.microsoft.com/office/drawing/2014/main" id="{30F3D634-E764-657B-79F5-6BFACF00BA50}"/>
              </a:ext>
            </a:extLst>
          </p:cNvPr>
          <p:cNvSpPr txBox="1"/>
          <p:nvPr/>
        </p:nvSpPr>
        <p:spPr>
          <a:xfrm>
            <a:off x="4552187" y="4192193"/>
            <a:ext cx="688124" cy="354071"/>
          </a:xfrm>
          <a:prstGeom prst="rect">
            <a:avLst/>
          </a:prstGeom>
          <a:noFill/>
        </p:spPr>
        <p:txBody>
          <a:bodyPr wrap="square" rtlCol="0">
            <a:spAutoFit/>
          </a:bodyPr>
          <a:lstStyle/>
          <a:p>
            <a:r>
              <a:rPr lang="en-ES" sz="1701">
                <a:solidFill>
                  <a:schemeClr val="tx2"/>
                </a:solidFill>
              </a:rPr>
              <a:t>….</a:t>
            </a:r>
          </a:p>
        </p:txBody>
      </p:sp>
      <p:cxnSp>
        <p:nvCxnSpPr>
          <p:cNvPr id="155" name="Straight Arrow Connector 154">
            <a:extLst>
              <a:ext uri="{FF2B5EF4-FFF2-40B4-BE49-F238E27FC236}">
                <a16:creationId xmlns:a16="http://schemas.microsoft.com/office/drawing/2014/main" id="{F1EFD825-01CB-7C49-6D0B-EB54F257218F}"/>
              </a:ext>
            </a:extLst>
          </p:cNvPr>
          <p:cNvCxnSpPr>
            <a:cxnSpLocks/>
          </p:cNvCxnSpPr>
          <p:nvPr/>
        </p:nvCxnSpPr>
        <p:spPr>
          <a:xfrm>
            <a:off x="4797173" y="2241727"/>
            <a:ext cx="248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6" name="Straight Arrow Connector 155">
            <a:extLst>
              <a:ext uri="{FF2B5EF4-FFF2-40B4-BE49-F238E27FC236}">
                <a16:creationId xmlns:a16="http://schemas.microsoft.com/office/drawing/2014/main" id="{002002D9-C49A-AB9B-9208-D9633447BABB}"/>
              </a:ext>
            </a:extLst>
          </p:cNvPr>
          <p:cNvCxnSpPr>
            <a:cxnSpLocks/>
            <a:endCxn id="150" idx="0"/>
          </p:cNvCxnSpPr>
          <p:nvPr/>
        </p:nvCxnSpPr>
        <p:spPr>
          <a:xfrm>
            <a:off x="7422471" y="2241725"/>
            <a:ext cx="5921"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7" name="Straight Arrow Connector 156">
            <a:extLst>
              <a:ext uri="{FF2B5EF4-FFF2-40B4-BE49-F238E27FC236}">
                <a16:creationId xmlns:a16="http://schemas.microsoft.com/office/drawing/2014/main" id="{CA350644-A709-1E84-7059-F7FFD003DD47}"/>
              </a:ext>
            </a:extLst>
          </p:cNvPr>
          <p:cNvCxnSpPr>
            <a:cxnSpLocks/>
            <a:endCxn id="148" idx="0"/>
          </p:cNvCxnSpPr>
          <p:nvPr/>
        </p:nvCxnSpPr>
        <p:spPr>
          <a:xfrm>
            <a:off x="1809597" y="2241727"/>
            <a:ext cx="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1" name="Straight Arrow Connector 160">
            <a:extLst>
              <a:ext uri="{FF2B5EF4-FFF2-40B4-BE49-F238E27FC236}">
                <a16:creationId xmlns:a16="http://schemas.microsoft.com/office/drawing/2014/main" id="{D38332EE-7DE0-485A-051A-9A7B62D8A069}"/>
              </a:ext>
            </a:extLst>
          </p:cNvPr>
          <p:cNvCxnSpPr>
            <a:cxnSpLocks/>
            <a:endCxn id="148" idx="3"/>
          </p:cNvCxnSpPr>
          <p:nvPr/>
        </p:nvCxnSpPr>
        <p:spPr>
          <a:xfrm flipH="1">
            <a:off x="2979394" y="3751533"/>
            <a:ext cx="1124778" cy="1359"/>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2" name="Straight Arrow Connector 161">
            <a:extLst>
              <a:ext uri="{FF2B5EF4-FFF2-40B4-BE49-F238E27FC236}">
                <a16:creationId xmlns:a16="http://schemas.microsoft.com/office/drawing/2014/main" id="{AA4B6977-C02E-4C4D-0EA9-2ED5CEDA3E97}"/>
              </a:ext>
            </a:extLst>
          </p:cNvPr>
          <p:cNvCxnSpPr>
            <a:cxnSpLocks/>
          </p:cNvCxnSpPr>
          <p:nvPr/>
        </p:nvCxnSpPr>
        <p:spPr>
          <a:xfrm>
            <a:off x="2979395" y="3622254"/>
            <a:ext cx="1124777" cy="0"/>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63" name="Rounded Rectangle 162">
            <a:extLst>
              <a:ext uri="{FF2B5EF4-FFF2-40B4-BE49-F238E27FC236}">
                <a16:creationId xmlns:a16="http://schemas.microsoft.com/office/drawing/2014/main" id="{2E33F38C-08D2-8BD8-6229-3DDF96F796F0}"/>
              </a:ext>
            </a:extLst>
          </p:cNvPr>
          <p:cNvSpPr/>
          <p:nvPr/>
        </p:nvSpPr>
        <p:spPr>
          <a:xfrm>
            <a:off x="8816722" y="5061238"/>
            <a:ext cx="610971" cy="43973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4" name="Rounded Rectangle 163">
            <a:extLst>
              <a:ext uri="{FF2B5EF4-FFF2-40B4-BE49-F238E27FC236}">
                <a16:creationId xmlns:a16="http://schemas.microsoft.com/office/drawing/2014/main" id="{17251ABB-6E27-E7EB-0C46-8A10A87E9046}"/>
              </a:ext>
            </a:extLst>
          </p:cNvPr>
          <p:cNvSpPr/>
          <p:nvPr/>
        </p:nvSpPr>
        <p:spPr>
          <a:xfrm>
            <a:off x="8816723" y="5610832"/>
            <a:ext cx="610971" cy="43973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5" name="Rectangle 164">
            <a:extLst>
              <a:ext uri="{FF2B5EF4-FFF2-40B4-BE49-F238E27FC236}">
                <a16:creationId xmlns:a16="http://schemas.microsoft.com/office/drawing/2014/main" id="{9CABD413-B2F8-E22F-C9B9-5B84B1B089AE}"/>
              </a:ext>
            </a:extLst>
          </p:cNvPr>
          <p:cNvSpPr/>
          <p:nvPr/>
        </p:nvSpPr>
        <p:spPr>
          <a:xfrm>
            <a:off x="9427692" y="5048346"/>
            <a:ext cx="1436314"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Transversal technical WGs</a:t>
            </a:r>
          </a:p>
        </p:txBody>
      </p:sp>
      <p:sp>
        <p:nvSpPr>
          <p:cNvPr id="166" name="Rectangle 165">
            <a:extLst>
              <a:ext uri="{FF2B5EF4-FFF2-40B4-BE49-F238E27FC236}">
                <a16:creationId xmlns:a16="http://schemas.microsoft.com/office/drawing/2014/main" id="{DB999C2A-191A-2ED0-0E2D-23DD4D206DB1}"/>
              </a:ext>
            </a:extLst>
          </p:cNvPr>
          <p:cNvSpPr/>
          <p:nvPr/>
        </p:nvSpPr>
        <p:spPr>
          <a:xfrm>
            <a:off x="9427693" y="5611211"/>
            <a:ext cx="1436312"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API WGs (Sub Projects)</a:t>
            </a:r>
          </a:p>
        </p:txBody>
      </p:sp>
      <p:sp>
        <p:nvSpPr>
          <p:cNvPr id="167" name="Rounded Rectangle 166">
            <a:extLst>
              <a:ext uri="{FF2B5EF4-FFF2-40B4-BE49-F238E27FC236}">
                <a16:creationId xmlns:a16="http://schemas.microsoft.com/office/drawing/2014/main" id="{0FED2B9F-35CB-DFD0-6611-D2B77B3673B5}"/>
              </a:ext>
            </a:extLst>
          </p:cNvPr>
          <p:cNvSpPr/>
          <p:nvPr/>
        </p:nvSpPr>
        <p:spPr>
          <a:xfrm>
            <a:off x="8816722" y="4520817"/>
            <a:ext cx="610971" cy="439732"/>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8" name="Rectangle 167">
            <a:extLst>
              <a:ext uri="{FF2B5EF4-FFF2-40B4-BE49-F238E27FC236}">
                <a16:creationId xmlns:a16="http://schemas.microsoft.com/office/drawing/2014/main" id="{55520ACF-1CA7-94EB-CA5E-0D283B976B40}"/>
              </a:ext>
            </a:extLst>
          </p:cNvPr>
          <p:cNvSpPr/>
          <p:nvPr/>
        </p:nvSpPr>
        <p:spPr>
          <a:xfrm>
            <a:off x="9427691" y="4574542"/>
            <a:ext cx="1436314" cy="295915"/>
          </a:xfrm>
          <a:prstGeom prst="rect">
            <a:avLst/>
          </a:prstGeom>
        </p:spPr>
        <p:txBody>
          <a:bodyPr wrap="square">
            <a:spAutoFit/>
          </a:bodyPr>
          <a:lstStyle/>
          <a:p>
            <a:r>
              <a:rPr lang="en-ES" sz="1323">
                <a:latin typeface="Arial" panose="020B0604020202020204" pitchFamily="34" charset="0"/>
                <a:cs typeface="Arial" panose="020B0604020202020204" pitchFamily="34" charset="0"/>
              </a:rPr>
              <a:t>Governing body</a:t>
            </a:r>
          </a:p>
        </p:txBody>
      </p:sp>
      <p:sp>
        <p:nvSpPr>
          <p:cNvPr id="169" name="Rounded Rectangle 168">
            <a:extLst>
              <a:ext uri="{FF2B5EF4-FFF2-40B4-BE49-F238E27FC236}">
                <a16:creationId xmlns:a16="http://schemas.microsoft.com/office/drawing/2014/main" id="{24DCFDA2-46AE-0658-3A40-31360E7B6E75}"/>
              </a:ext>
            </a:extLst>
          </p:cNvPr>
          <p:cNvSpPr/>
          <p:nvPr/>
        </p:nvSpPr>
        <p:spPr>
          <a:xfrm>
            <a:off x="8714054" y="4396467"/>
            <a:ext cx="2149951" cy="1740058"/>
          </a:xfrm>
          <a:prstGeom prst="roundRect">
            <a:avLst>
              <a:gd name="adj" fmla="val 10991"/>
            </a:avLst>
          </a:prstGeom>
          <a:noFill/>
          <a:ln w="190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solidFill>
                <a:schemeClr val="tx2"/>
              </a:solidFill>
            </a:endParaRPr>
          </a:p>
        </p:txBody>
      </p:sp>
      <p:sp>
        <p:nvSpPr>
          <p:cNvPr id="170" name="Content Placeholder 5">
            <a:extLst>
              <a:ext uri="{FF2B5EF4-FFF2-40B4-BE49-F238E27FC236}">
                <a16:creationId xmlns:a16="http://schemas.microsoft.com/office/drawing/2014/main" id="{109225EA-D34C-BE73-B9A2-84B300E5C0DC}"/>
              </a:ext>
            </a:extLst>
          </p:cNvPr>
          <p:cNvSpPr txBox="1">
            <a:spLocks/>
          </p:cNvSpPr>
          <p:nvPr/>
        </p:nvSpPr>
        <p:spPr>
          <a:xfrm>
            <a:off x="8548131" y="1672340"/>
            <a:ext cx="2486356" cy="3010129"/>
          </a:xfrm>
          <a:prstGeom prst="rect">
            <a:avLst/>
          </a:prstGeom>
          <a:ln>
            <a:noFill/>
          </a:ln>
        </p:spPr>
        <p:txBody>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S" sz="1512"/>
              <a:t>Responsible for all aspects of oversight</a:t>
            </a:r>
            <a:endParaRPr lang="en-ES" sz="1701"/>
          </a:p>
          <a:p>
            <a:endParaRPr lang="en-ES" sz="1323">
              <a:latin typeface="Courier New" panose="02070309020205020404" pitchFamily="49" charset="0"/>
              <a:cs typeface="Courier New" panose="02070309020205020404" pitchFamily="49" charset="0"/>
            </a:endParaRPr>
          </a:p>
        </p:txBody>
      </p:sp>
      <p:sp>
        <p:nvSpPr>
          <p:cNvPr id="171" name="Content Placeholder 5">
            <a:extLst>
              <a:ext uri="{FF2B5EF4-FFF2-40B4-BE49-F238E27FC236}">
                <a16:creationId xmlns:a16="http://schemas.microsoft.com/office/drawing/2014/main" id="{F36C5703-E055-4D52-4051-73DE2C3BD81F}"/>
              </a:ext>
            </a:extLst>
          </p:cNvPr>
          <p:cNvSpPr txBox="1">
            <a:spLocks/>
          </p:cNvSpPr>
          <p:nvPr/>
        </p:nvSpPr>
        <p:spPr>
          <a:xfrm>
            <a:off x="925062" y="2468733"/>
            <a:ext cx="7551193" cy="245800"/>
          </a:xfrm>
          <a:prstGeom prst="rect">
            <a:avLst/>
          </a:prstGeom>
          <a:solidFill>
            <a:schemeClr val="bg1"/>
          </a:solidFill>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512" i="1">
                <a:solidFill>
                  <a:schemeClr val="tx1"/>
                </a:solidFill>
              </a:rPr>
              <a:t>Ways of working definition, creating/removing new/existing WGs, re-prioritization, etc.</a:t>
            </a:r>
            <a:endParaRPr lang="en-ES" sz="1701" i="1">
              <a:solidFill>
                <a:schemeClr val="tx1"/>
              </a:solidFill>
              <a:latin typeface="Courier New" panose="02070309020205020404" pitchFamily="49" charset="0"/>
              <a:cs typeface="Courier New" panose="02070309020205020404" pitchFamily="49" charset="0"/>
            </a:endParaRPr>
          </a:p>
        </p:txBody>
      </p:sp>
      <p:sp>
        <p:nvSpPr>
          <p:cNvPr id="172" name="Oval 171">
            <a:extLst>
              <a:ext uri="{FF2B5EF4-FFF2-40B4-BE49-F238E27FC236}">
                <a16:creationId xmlns:a16="http://schemas.microsoft.com/office/drawing/2014/main" id="{A2F0085A-F11E-D608-627C-2A3DB8CCB64A}"/>
              </a:ext>
            </a:extLst>
          </p:cNvPr>
          <p:cNvSpPr/>
          <p:nvPr/>
        </p:nvSpPr>
        <p:spPr>
          <a:xfrm>
            <a:off x="1165347" y="2789235"/>
            <a:ext cx="6804288" cy="125001"/>
          </a:xfrm>
          <a:prstGeom prst="ellipse">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p>
        </p:txBody>
      </p:sp>
      <p:sp>
        <p:nvSpPr>
          <p:cNvPr id="173" name="Content Placeholder 5">
            <a:extLst>
              <a:ext uri="{FF2B5EF4-FFF2-40B4-BE49-F238E27FC236}">
                <a16:creationId xmlns:a16="http://schemas.microsoft.com/office/drawing/2014/main" id="{E655A639-7AF4-41F1-BDD7-3D8361ED8218}"/>
              </a:ext>
            </a:extLst>
          </p:cNvPr>
          <p:cNvSpPr txBox="1">
            <a:spLocks/>
          </p:cNvSpPr>
          <p:nvPr/>
        </p:nvSpPr>
        <p:spPr>
          <a:xfrm>
            <a:off x="4046180" y="5123576"/>
            <a:ext cx="1563430" cy="438844"/>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dirty="0">
                <a:solidFill>
                  <a:schemeClr val="tx1"/>
                </a:solidFill>
              </a:rPr>
              <a:t>API families </a:t>
            </a:r>
          </a:p>
        </p:txBody>
      </p:sp>
      <p:sp>
        <p:nvSpPr>
          <p:cNvPr id="175" name="Content Placeholder 5">
            <a:extLst>
              <a:ext uri="{FF2B5EF4-FFF2-40B4-BE49-F238E27FC236}">
                <a16:creationId xmlns:a16="http://schemas.microsoft.com/office/drawing/2014/main" id="{F610E0F5-B891-19E2-4BF5-2A69E20155ED}"/>
              </a:ext>
            </a:extLst>
          </p:cNvPr>
          <p:cNvSpPr txBox="1">
            <a:spLocks/>
          </p:cNvSpPr>
          <p:nvPr/>
        </p:nvSpPr>
        <p:spPr>
          <a:xfrm>
            <a:off x="5230173" y="3077157"/>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Priorities and roadmap</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176" name="Straight Arrow Connector 175">
            <a:extLst>
              <a:ext uri="{FF2B5EF4-FFF2-40B4-BE49-F238E27FC236}">
                <a16:creationId xmlns:a16="http://schemas.microsoft.com/office/drawing/2014/main" id="{6679DEB3-8A91-C11F-CC03-7C52601EEA67}"/>
              </a:ext>
            </a:extLst>
          </p:cNvPr>
          <p:cNvCxnSpPr>
            <a:cxnSpLocks/>
          </p:cNvCxnSpPr>
          <p:nvPr/>
        </p:nvCxnSpPr>
        <p:spPr>
          <a:xfrm flipH="1" flipV="1">
            <a:off x="5478882" y="3591895"/>
            <a:ext cx="937359" cy="5254"/>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78" name="Content Placeholder 5">
            <a:extLst>
              <a:ext uri="{FF2B5EF4-FFF2-40B4-BE49-F238E27FC236}">
                <a16:creationId xmlns:a16="http://schemas.microsoft.com/office/drawing/2014/main" id="{3446180A-5B81-8B4B-BDF1-47513648C7E9}"/>
              </a:ext>
            </a:extLst>
          </p:cNvPr>
          <p:cNvSpPr txBox="1">
            <a:spLocks/>
          </p:cNvSpPr>
          <p:nvPr/>
        </p:nvSpPr>
        <p:spPr>
          <a:xfrm>
            <a:off x="2811401" y="3772531"/>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sp>
        <p:nvSpPr>
          <p:cNvPr id="179" name="Content Placeholder 5">
            <a:extLst>
              <a:ext uri="{FF2B5EF4-FFF2-40B4-BE49-F238E27FC236}">
                <a16:creationId xmlns:a16="http://schemas.microsoft.com/office/drawing/2014/main" id="{02713DD6-C154-0D24-E8BB-195D478B4E27}"/>
              </a:ext>
            </a:extLst>
          </p:cNvPr>
          <p:cNvSpPr txBox="1">
            <a:spLocks/>
          </p:cNvSpPr>
          <p:nvPr/>
        </p:nvSpPr>
        <p:spPr>
          <a:xfrm>
            <a:off x="2832877" y="3083886"/>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Implementation guidelines</a:t>
            </a:r>
            <a:endParaRPr lang="en-ES" sz="1512" i="1">
              <a:solidFill>
                <a:schemeClr val="tx1"/>
              </a:solidFill>
              <a:latin typeface="Courier New" panose="02070309020205020404" pitchFamily="49" charset="0"/>
              <a:cs typeface="Courier New" panose="02070309020205020404" pitchFamily="49" charset="0"/>
            </a:endParaRPr>
          </a:p>
        </p:txBody>
      </p:sp>
      <p:sp>
        <p:nvSpPr>
          <p:cNvPr id="215" name="Content Placeholder 5">
            <a:extLst>
              <a:ext uri="{FF2B5EF4-FFF2-40B4-BE49-F238E27FC236}">
                <a16:creationId xmlns:a16="http://schemas.microsoft.com/office/drawing/2014/main" id="{227991F3-72F8-4D43-90ED-A8DEA917D7EE}"/>
              </a:ext>
            </a:extLst>
          </p:cNvPr>
          <p:cNvSpPr txBox="1">
            <a:spLocks/>
          </p:cNvSpPr>
          <p:nvPr/>
        </p:nvSpPr>
        <p:spPr>
          <a:xfrm>
            <a:off x="5240311" y="3791140"/>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218" name="Straight Arrow Connector 217">
            <a:extLst>
              <a:ext uri="{FF2B5EF4-FFF2-40B4-BE49-F238E27FC236}">
                <a16:creationId xmlns:a16="http://schemas.microsoft.com/office/drawing/2014/main" id="{D0CD98C2-8859-6488-206D-F65DD9AB9803}"/>
              </a:ext>
            </a:extLst>
          </p:cNvPr>
          <p:cNvCxnSpPr>
            <a:cxnSpLocks/>
            <a:endCxn id="150" idx="1"/>
          </p:cNvCxnSpPr>
          <p:nvPr/>
        </p:nvCxnSpPr>
        <p:spPr>
          <a:xfrm flipV="1">
            <a:off x="5495133" y="3746321"/>
            <a:ext cx="921108" cy="5212"/>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40" name="Rounded Rectangle 39">
            <a:extLst>
              <a:ext uri="{FF2B5EF4-FFF2-40B4-BE49-F238E27FC236}">
                <a16:creationId xmlns:a16="http://schemas.microsoft.com/office/drawing/2014/main" id="{2B34A439-4037-D943-1591-6E4E82255201}"/>
              </a:ext>
            </a:extLst>
          </p:cNvPr>
          <p:cNvSpPr/>
          <p:nvPr/>
        </p:nvSpPr>
        <p:spPr>
          <a:xfrm>
            <a:off x="4241922" y="4546264"/>
            <a:ext cx="1076538"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X” API</a:t>
            </a:r>
          </a:p>
        </p:txBody>
      </p:sp>
      <p:sp>
        <p:nvSpPr>
          <p:cNvPr id="41" name="Rounded Rectangle 40">
            <a:extLst>
              <a:ext uri="{FF2B5EF4-FFF2-40B4-BE49-F238E27FC236}">
                <a16:creationId xmlns:a16="http://schemas.microsoft.com/office/drawing/2014/main" id="{AA780F05-61B6-D2A5-85B8-6D3BDE44C509}"/>
              </a:ext>
            </a:extLst>
          </p:cNvPr>
          <p:cNvSpPr/>
          <p:nvPr/>
        </p:nvSpPr>
        <p:spPr>
          <a:xfrm>
            <a:off x="4099133" y="3276858"/>
            <a:ext cx="1395999" cy="177916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400" b="1"/>
          </a:p>
        </p:txBody>
      </p:sp>
      <p:sp>
        <p:nvSpPr>
          <p:cNvPr id="4" name="Rounded Rectangle 3">
            <a:extLst>
              <a:ext uri="{FF2B5EF4-FFF2-40B4-BE49-F238E27FC236}">
                <a16:creationId xmlns:a16="http://schemas.microsoft.com/office/drawing/2014/main" id="{7570DCF2-F9FC-4868-06D2-BA8089B8560A}"/>
              </a:ext>
            </a:extLst>
          </p:cNvPr>
          <p:cNvSpPr/>
          <p:nvPr/>
        </p:nvSpPr>
        <p:spPr>
          <a:xfrm>
            <a:off x="385082" y="6009775"/>
            <a:ext cx="911283" cy="345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 name="Rectangle 4">
            <a:extLst>
              <a:ext uri="{FF2B5EF4-FFF2-40B4-BE49-F238E27FC236}">
                <a16:creationId xmlns:a16="http://schemas.microsoft.com/office/drawing/2014/main" id="{B0CD815F-003E-F192-B24E-5023BA18E4E6}"/>
              </a:ext>
            </a:extLst>
          </p:cNvPr>
          <p:cNvSpPr/>
          <p:nvPr/>
        </p:nvSpPr>
        <p:spPr>
          <a:xfrm>
            <a:off x="231494" y="6009775"/>
            <a:ext cx="1578102" cy="47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1430373668"/>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Motivation</a:t>
            </a:r>
          </a:p>
        </p:txBody>
      </p:sp>
      <p:sp>
        <p:nvSpPr>
          <p:cNvPr id="9" name="Content Placeholder 2">
            <a:extLst>
              <a:ext uri="{FF2B5EF4-FFF2-40B4-BE49-F238E27FC236}">
                <a16:creationId xmlns:a16="http://schemas.microsoft.com/office/drawing/2014/main" id="{E312B357-7C95-BC01-1B98-974A1321AE87}"/>
              </a:ext>
            </a:extLst>
          </p:cNvPr>
          <p:cNvSpPr>
            <a:spLocks noGrp="1"/>
          </p:cNvSpPr>
          <p:nvPr>
            <p:ph idx="1"/>
          </p:nvPr>
        </p:nvSpPr>
        <p:spPr>
          <a:xfrm>
            <a:off x="404589" y="878116"/>
            <a:ext cx="10712893" cy="669563"/>
          </a:xfrm>
        </p:spPr>
        <p:txBody>
          <a:bodyPr/>
          <a:lstStyle/>
          <a:p>
            <a:pPr>
              <a:lnSpc>
                <a:spcPct val="100000"/>
              </a:lnSpc>
              <a:spcBef>
                <a:spcPts val="0"/>
              </a:spcBef>
            </a:pPr>
            <a:r>
              <a:rPr lang="en-US" sz="2000" b="1" i="1" u="sng" dirty="0"/>
              <a:t>Problem statement</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Decision on creating new Sub Projects to work out specific APIs has not been a major issue up to now.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Every API was more than welcome and new Sub Project was defined accordingly</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he reason is that the number of APIs and contributions in CAMARA have been rather limited so far. </a:t>
            </a:r>
          </a:p>
          <a:p>
            <a:pPr marL="342900" indent="-342900">
              <a:lnSpc>
                <a:spcPct val="100000"/>
              </a:lnSpc>
              <a:spcBef>
                <a:spcPts val="600"/>
              </a:spcBef>
              <a:buFont typeface="Arial" panose="020B0604020202020204" pitchFamily="34" charset="0"/>
              <a:buChar char="•"/>
            </a:pPr>
            <a:r>
              <a:rPr lang="en-US" sz="1800" dirty="0">
                <a:solidFill>
                  <a:schemeClr val="tx1"/>
                </a:solidFill>
              </a:rPr>
              <a:t>However, as CAMARA gains traction and more partners are bringing API proposals into the backlog, the as-is approach is no longer viable – it does not scale. </a:t>
            </a:r>
          </a:p>
          <a:p>
            <a:pPr marL="342900" indent="-342900">
              <a:lnSpc>
                <a:spcPct val="100000"/>
              </a:lnSpc>
              <a:spcBef>
                <a:spcPts val="600"/>
              </a:spcBef>
              <a:buFont typeface="Arial" panose="020B0604020202020204" pitchFamily="34" charset="0"/>
              <a:buChar char="•"/>
            </a:pPr>
            <a:r>
              <a:rPr lang="en-US" sz="1800" dirty="0">
                <a:solidFill>
                  <a:schemeClr val="tx1"/>
                </a:solidFill>
              </a:rPr>
              <a:t>Additionally, external fora are asking us about the formal procedure to start working on a new API in CAMARA</a:t>
            </a: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0"/>
              </a:spcBef>
            </a:pPr>
            <a:r>
              <a:rPr lang="en-US" sz="2000" b="1" i="1" u="sng" dirty="0"/>
              <a:t>Call for action</a:t>
            </a:r>
            <a:endParaRPr lang="en-US" sz="2000" i="1" u="sng" dirty="0"/>
          </a:p>
          <a:p>
            <a:pPr marL="342900" indent="-342900">
              <a:lnSpc>
                <a:spcPct val="100000"/>
              </a:lnSpc>
              <a:spcBef>
                <a:spcPts val="600"/>
              </a:spcBef>
              <a:buFont typeface="Arial" panose="020B0604020202020204" pitchFamily="34" charset="0"/>
              <a:buChar char="•"/>
            </a:pPr>
            <a:r>
              <a:rPr lang="en-US" sz="1800" b="1" dirty="0">
                <a:solidFill>
                  <a:schemeClr val="tx1"/>
                </a:solidFill>
              </a:rPr>
              <a:t>Agree on (and document) a clear, consistent transparent process for API onboarding and handling</a:t>
            </a:r>
            <a:r>
              <a:rPr lang="en-US" sz="1800" dirty="0">
                <a:solidFill>
                  <a:schemeClr val="tx1"/>
                </a:solidFill>
              </a:rPr>
              <a:t>, that allows tracking the situation of APIs from their introduction in the backlog to their final incorporation to the CAMARA portfolio as technically/commercially available. </a:t>
            </a:r>
          </a:p>
          <a:p>
            <a:pPr>
              <a:lnSpc>
                <a:spcPct val="100000"/>
              </a:lnSpc>
              <a:spcBef>
                <a:spcPts val="600"/>
              </a:spcBef>
            </a:pPr>
            <a:endParaRPr lang="en-US" sz="1800" dirty="0">
              <a:solidFill>
                <a:schemeClr val="tx1"/>
              </a:solidFill>
            </a:endParaRPr>
          </a:p>
          <a:p>
            <a:pPr>
              <a:lnSpc>
                <a:spcPct val="100000"/>
              </a:lnSpc>
              <a:spcBef>
                <a:spcPts val="0"/>
              </a:spcBef>
            </a:pPr>
            <a:r>
              <a:rPr lang="en-US" sz="2000" b="1" i="1" u="sng" dirty="0"/>
              <a:t>Note</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The intention is not making the process more complicated or slow it down, but add certainty and transparency, and hopefully speed it up and gain scale (grow quickly the API portfolio) by growing confidence in the participants. </a:t>
            </a: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2698715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3</a:t>
            </a:r>
          </a:p>
          <a:p>
            <a:pPr algn="ctr">
              <a:spcBef>
                <a:spcPts val="600"/>
              </a:spcBef>
            </a:pPr>
            <a:r>
              <a:rPr lang="en-ES" dirty="0"/>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7</a:t>
            </a:r>
          </a:p>
          <a:p>
            <a:pPr lvl="0" algn="ctr">
              <a:spcBef>
                <a:spcPts val="600"/>
              </a:spcBef>
            </a:pPr>
            <a:r>
              <a:rPr lang="en-ES" dirty="0">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solidFill>
                  <a:schemeClr val="tx1"/>
                </a:solidFill>
              </a:rPr>
              <a:t>Github issue #12</a:t>
            </a:r>
          </a:p>
          <a:p>
            <a:pPr lvl="0" algn="ctr">
              <a:spcBef>
                <a:spcPts val="600"/>
              </a:spcBef>
            </a:pPr>
            <a:r>
              <a:rPr lang="en-ES" dirty="0">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9</a:t>
            </a:r>
          </a:p>
          <a:p>
            <a:pPr lvl="0" algn="ctr">
              <a:spcBef>
                <a:spcPts val="600"/>
              </a:spcBef>
            </a:pPr>
            <a:r>
              <a:rPr lang="en-ES" dirty="0">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Consolidate</a:t>
            </a:r>
            <a:r>
              <a:rPr lang="es-ES" sz="1200" i="1" dirty="0"/>
              <a:t> </a:t>
            </a:r>
            <a:r>
              <a:rPr lang="es-ES" sz="1200" i="1" dirty="0" err="1"/>
              <a:t>one</a:t>
            </a:r>
            <a:r>
              <a:rPr lang="es-ES" sz="1200" i="1" dirty="0"/>
              <a:t> single table </a:t>
            </a:r>
            <a:r>
              <a:rPr lang="es-ES" sz="1200" i="1" dirty="0" err="1"/>
              <a:t>for</a:t>
            </a:r>
            <a:r>
              <a:rPr lang="es-ES" sz="1200" i="1" dirty="0"/>
              <a:t> </a:t>
            </a:r>
            <a:r>
              <a:rPr lang="es-ES" sz="1200" i="1" dirty="0" err="1"/>
              <a:t>the</a:t>
            </a:r>
            <a:r>
              <a:rPr lang="es-ES" sz="1200" i="1" dirty="0"/>
              <a:t> API backlog. </a:t>
            </a:r>
            <a:r>
              <a:rPr lang="es-ES" sz="1200" i="1" dirty="0" err="1"/>
              <a:t>This</a:t>
            </a:r>
            <a:r>
              <a:rPr lang="es-ES" sz="1200" i="1" dirty="0"/>
              <a:t> backlog </a:t>
            </a:r>
            <a:r>
              <a:rPr lang="es-ES" sz="1200" i="1" dirty="0" err="1"/>
              <a:t>shall</a:t>
            </a:r>
            <a:r>
              <a:rPr lang="es-ES" sz="1200" i="1" dirty="0"/>
              <a:t> capture </a:t>
            </a:r>
            <a:r>
              <a:rPr lang="es-ES" sz="1200" i="1" dirty="0" err="1"/>
              <a:t>info</a:t>
            </a:r>
            <a:r>
              <a:rPr lang="es-ES" sz="1200" i="1" dirty="0"/>
              <a:t> </a:t>
            </a:r>
            <a:r>
              <a:rPr lang="es-ES" sz="1200" i="1" dirty="0" err="1"/>
              <a:t>on</a:t>
            </a:r>
            <a:r>
              <a:rPr lang="es-ES" sz="1200" i="1" dirty="0"/>
              <a:t> </a:t>
            </a:r>
            <a:r>
              <a:rPr lang="es-ES" sz="1200" i="1" dirty="0" err="1"/>
              <a:t>APIs</a:t>
            </a:r>
            <a:r>
              <a:rPr lang="es-ES" sz="1200" i="1" dirty="0"/>
              <a:t> </a:t>
            </a:r>
            <a:r>
              <a:rPr lang="es-ES" sz="1200" i="1" dirty="0" err="1"/>
              <a:t>that</a:t>
            </a:r>
            <a:r>
              <a:rPr lang="es-ES" sz="1200" i="1" dirty="0"/>
              <a:t> </a:t>
            </a:r>
            <a:r>
              <a:rPr lang="es-ES" sz="1200" i="1" dirty="0" err="1"/>
              <a:t>have</a:t>
            </a:r>
            <a:r>
              <a:rPr lang="es-ES" sz="1200" i="1" dirty="0"/>
              <a:t> </a:t>
            </a:r>
            <a:r>
              <a:rPr lang="es-ES" sz="1200" i="1" dirty="0" err="1"/>
              <a:t>been</a:t>
            </a:r>
            <a:r>
              <a:rPr lang="es-ES" sz="1200" i="1" dirty="0"/>
              <a:t> </a:t>
            </a:r>
            <a:r>
              <a:rPr lang="es-ES" sz="1200" i="1" dirty="0" err="1"/>
              <a:t>already</a:t>
            </a:r>
            <a:r>
              <a:rPr lang="es-ES" sz="1200" i="1" dirty="0"/>
              <a:t> </a:t>
            </a:r>
            <a:r>
              <a:rPr lang="es-ES" sz="1200" i="1" dirty="0" err="1"/>
              <a:t>proposed</a:t>
            </a:r>
            <a:r>
              <a:rPr lang="es-ES" sz="1200" i="1" dirty="0"/>
              <a:t> </a:t>
            </a:r>
            <a:r>
              <a:rPr lang="es-ES" sz="1200" i="1" dirty="0" err="1"/>
              <a:t>for</a:t>
            </a:r>
            <a:r>
              <a:rPr lang="es-ES" sz="1200" i="1" dirty="0"/>
              <a:t> </a:t>
            </a:r>
            <a:r>
              <a:rPr lang="es-ES" sz="1200" i="1" dirty="0" err="1"/>
              <a:t>adoption</a:t>
            </a:r>
            <a:r>
              <a:rPr lang="es-ES" sz="1200" i="1" dirty="0"/>
              <a:t>, and </a:t>
            </a:r>
            <a:r>
              <a:rPr lang="es-ES" sz="1200" i="1" dirty="0" err="1"/>
              <a:t>APIs</a:t>
            </a:r>
            <a:r>
              <a:rPr lang="es-ES" sz="1200" i="1" dirty="0"/>
              <a:t> </a:t>
            </a:r>
            <a:r>
              <a:rPr lang="es-ES" sz="1200" i="1" dirty="0" err="1"/>
              <a:t>suggested</a:t>
            </a:r>
            <a:r>
              <a:rPr lang="es-ES" sz="1200" i="1" dirty="0"/>
              <a:t> </a:t>
            </a:r>
            <a:r>
              <a:rPr lang="es-ES" sz="1200" i="1" dirty="0" err="1"/>
              <a:t>from</a:t>
            </a:r>
            <a:r>
              <a:rPr lang="es-ES" sz="1200" i="1" dirty="0"/>
              <a:t> </a:t>
            </a:r>
            <a:r>
              <a:rPr lang="es-ES" sz="1200" i="1" dirty="0" err="1"/>
              <a:t>other</a:t>
            </a:r>
            <a:r>
              <a:rPr lang="es-ES" sz="1200" i="1" dirty="0"/>
              <a:t> </a:t>
            </a:r>
            <a:r>
              <a:rPr lang="es-ES" sz="1200" i="1" dirty="0" err="1"/>
              <a:t>sources</a:t>
            </a:r>
            <a:r>
              <a:rPr lang="es-ES" sz="1200" i="1" dirty="0"/>
              <a:t> (OPAG)</a:t>
            </a:r>
            <a:endParaRPr lang="en-ES" sz="1200" i="1" dirty="0"/>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Develop</a:t>
            </a:r>
            <a:r>
              <a:rPr lang="es-ES" sz="1200" i="1" dirty="0"/>
              <a:t> a </a:t>
            </a:r>
            <a:r>
              <a:rPr lang="es-ES" sz="1200" i="1" dirty="0" err="1"/>
              <a:t>checklist</a:t>
            </a:r>
            <a:r>
              <a:rPr lang="es-ES" sz="1200" i="1" dirty="0"/>
              <a:t> </a:t>
            </a:r>
            <a:r>
              <a:rPr lang="es-ES" sz="1200" i="1" dirty="0" err="1"/>
              <a:t>for</a:t>
            </a:r>
            <a:r>
              <a:rPr lang="es-ES" sz="1200" i="1" dirty="0"/>
              <a:t> </a:t>
            </a:r>
            <a:r>
              <a:rPr lang="es-ES" sz="1200" i="1" dirty="0" err="1"/>
              <a:t>an</a:t>
            </a:r>
            <a:r>
              <a:rPr lang="es-ES" sz="1200" i="1" dirty="0"/>
              <a:t> "API </a:t>
            </a:r>
            <a:r>
              <a:rPr lang="es-ES" sz="1200" i="1" dirty="0" err="1"/>
              <a:t>is</a:t>
            </a:r>
            <a:r>
              <a:rPr lang="es-ES" sz="1200" i="1" dirty="0"/>
              <a:t> </a:t>
            </a:r>
            <a:r>
              <a:rPr lang="es-ES" sz="1200" i="1" dirty="0" err="1"/>
              <a:t>ready</a:t>
            </a:r>
            <a:r>
              <a:rPr lang="es-ES" sz="1200" i="1" dirty="0"/>
              <a:t> </a:t>
            </a:r>
            <a:r>
              <a:rPr lang="es-ES" sz="1200" i="1" dirty="0" err="1"/>
              <a:t>to</a:t>
            </a:r>
            <a:r>
              <a:rPr lang="es-ES" sz="1200" i="1" dirty="0"/>
              <a:t> use". </a:t>
            </a:r>
            <a:r>
              <a:rPr lang="es-ES" sz="1200" i="1" dirty="0" err="1"/>
              <a:t>Which</a:t>
            </a:r>
            <a:r>
              <a:rPr lang="es-ES" sz="1200" i="1" dirty="0"/>
              <a:t> </a:t>
            </a:r>
            <a:r>
              <a:rPr lang="es-ES" sz="1200" i="1" dirty="0" err="1"/>
              <a:t>deliverables</a:t>
            </a:r>
            <a:r>
              <a:rPr lang="es-ES" sz="1200" i="1" dirty="0"/>
              <a:t> are </a:t>
            </a:r>
            <a:r>
              <a:rPr lang="es-ES" sz="1200" i="1" dirty="0" err="1"/>
              <a:t>necessary</a:t>
            </a:r>
            <a:r>
              <a:rPr lang="es-ES" sz="1200" i="1" dirty="0"/>
              <a:t> </a:t>
            </a:r>
            <a:r>
              <a:rPr lang="es-ES" sz="1200" i="1" dirty="0" err="1"/>
              <a:t>for</a:t>
            </a:r>
            <a:r>
              <a:rPr lang="es-ES" sz="1200" i="1" dirty="0"/>
              <a:t> a complete </a:t>
            </a:r>
            <a:r>
              <a:rPr lang="es-ES" sz="1200" i="1" dirty="0" err="1"/>
              <a:t>release</a:t>
            </a:r>
            <a:r>
              <a:rPr lang="es-ES" sz="1200" i="1" dirty="0"/>
              <a:t> </a:t>
            </a:r>
            <a:r>
              <a:rPr lang="es-ES" sz="1200" i="1" dirty="0" err="1"/>
              <a:t>of</a:t>
            </a:r>
            <a:r>
              <a:rPr lang="es-ES" sz="1200" i="1" dirty="0"/>
              <a:t> </a:t>
            </a:r>
            <a:r>
              <a:rPr lang="es-ES" sz="1200" i="1" dirty="0" err="1"/>
              <a:t>an</a:t>
            </a:r>
            <a:r>
              <a:rPr lang="es-ES" sz="1200" i="1" dirty="0"/>
              <a:t> API? </a:t>
            </a:r>
            <a:endParaRPr lang="en-ES" sz="1200" i="1" dirty="0"/>
          </a:p>
        </p:txBody>
      </p:sp>
    </p:spTree>
    <p:extLst>
      <p:ext uri="{BB962C8B-B14F-4D97-AF65-F5344CB8AC3E}">
        <p14:creationId xmlns:p14="http://schemas.microsoft.com/office/powerpoint/2010/main" val="392281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388542" y="2858707"/>
            <a:ext cx="3702277" cy="34147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41273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1/4)</a:t>
            </a:r>
            <a:br>
              <a:rPr lang="en-US"/>
            </a:br>
            <a:r>
              <a:rPr lang="en-US"/>
              <a:t>Specify the steps that compose the pipeline</a:t>
            </a:r>
          </a:p>
        </p:txBody>
      </p:sp>
      <p:sp>
        <p:nvSpPr>
          <p:cNvPr id="3" name="Content Placeholder 2">
            <a:extLst>
              <a:ext uri="{FF2B5EF4-FFF2-40B4-BE49-F238E27FC236}">
                <a16:creationId xmlns:a16="http://schemas.microsoft.com/office/drawing/2014/main" id="{0C007C4B-8C65-844F-F4F7-D564808C65C9}"/>
              </a:ext>
            </a:extLst>
          </p:cNvPr>
          <p:cNvSpPr txBox="1">
            <a:spLocks/>
          </p:cNvSpPr>
          <p:nvPr/>
        </p:nvSpPr>
        <p:spPr>
          <a:xfrm>
            <a:off x="288924" y="1211583"/>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As-is (old) workflow</a:t>
            </a:r>
          </a:p>
        </p:txBody>
      </p:sp>
      <p:sp>
        <p:nvSpPr>
          <p:cNvPr id="67" name="Rectangle 66">
            <a:extLst>
              <a:ext uri="{FF2B5EF4-FFF2-40B4-BE49-F238E27FC236}">
                <a16:creationId xmlns:a16="http://schemas.microsoft.com/office/drawing/2014/main" id="{386D4FF2-52B4-FC06-E8BF-7DFD650B0CED}"/>
              </a:ext>
            </a:extLst>
          </p:cNvPr>
          <p:cNvSpPr/>
          <p:nvPr/>
        </p:nvSpPr>
        <p:spPr>
          <a:xfrm>
            <a:off x="1971064" y="1953854"/>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Provide high-level info on API…</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usability (scenario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Input param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Output params</a:t>
            </a:r>
          </a:p>
        </p:txBody>
      </p:sp>
      <p:sp>
        <p:nvSpPr>
          <p:cNvPr id="68" name="Rectangle 67">
            <a:extLst>
              <a:ext uri="{FF2B5EF4-FFF2-40B4-BE49-F238E27FC236}">
                <a16:creationId xmlns:a16="http://schemas.microsoft.com/office/drawing/2014/main" id="{4AE6FE71-E188-1626-D2F9-37C720E4BBBF}"/>
              </a:ext>
            </a:extLst>
          </p:cNvPr>
          <p:cNvSpPr/>
          <p:nvPr/>
        </p:nvSpPr>
        <p:spPr>
          <a:xfrm>
            <a:off x="1971063" y="2898118"/>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69" name="Rectangle 68">
            <a:extLst>
              <a:ext uri="{FF2B5EF4-FFF2-40B4-BE49-F238E27FC236}">
                <a16:creationId xmlns:a16="http://schemas.microsoft.com/office/drawing/2014/main" id="{3C03EF52-DD1C-9319-26E8-C0CBE27AD039}"/>
              </a:ext>
            </a:extLst>
          </p:cNvPr>
          <p:cNvSpPr/>
          <p:nvPr/>
        </p:nvSpPr>
        <p:spPr>
          <a:xfrm>
            <a:off x="4030839" y="1953856"/>
            <a:ext cx="1532010"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Providing comments, asking for clarification or suggesting enhancements</a:t>
            </a:r>
          </a:p>
        </p:txBody>
      </p:sp>
      <p:sp>
        <p:nvSpPr>
          <p:cNvPr id="70" name="Rectangle 69">
            <a:extLst>
              <a:ext uri="{FF2B5EF4-FFF2-40B4-BE49-F238E27FC236}">
                <a16:creationId xmlns:a16="http://schemas.microsoft.com/office/drawing/2014/main" id="{2F333E91-EC82-88CE-DE6F-8E1AF9E89B09}"/>
              </a:ext>
            </a:extLst>
          </p:cNvPr>
          <p:cNvSpPr/>
          <p:nvPr/>
        </p:nvSpPr>
        <p:spPr>
          <a:xfrm>
            <a:off x="4030839" y="2878916"/>
            <a:ext cx="1532009" cy="265468"/>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71" name="Rectangle 70">
            <a:extLst>
              <a:ext uri="{FF2B5EF4-FFF2-40B4-BE49-F238E27FC236}">
                <a16:creationId xmlns:a16="http://schemas.microsoft.com/office/drawing/2014/main" id="{07A9DD2D-C30E-5222-F699-A129D04B8A14}"/>
              </a:ext>
            </a:extLst>
          </p:cNvPr>
          <p:cNvSpPr/>
          <p:nvPr/>
        </p:nvSpPr>
        <p:spPr>
          <a:xfrm>
            <a:off x="6529865" y="1958656"/>
            <a:ext cx="1328112"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Fill out user story template agreed in Commonalities</a:t>
            </a:r>
          </a:p>
        </p:txBody>
      </p:sp>
      <p:sp>
        <p:nvSpPr>
          <p:cNvPr id="72" name="Rectangle 71">
            <a:extLst>
              <a:ext uri="{FF2B5EF4-FFF2-40B4-BE49-F238E27FC236}">
                <a16:creationId xmlns:a16="http://schemas.microsoft.com/office/drawing/2014/main" id="{4C342442-ED3E-5CDE-31C0-AD997DF91CA7}"/>
              </a:ext>
            </a:extLst>
          </p:cNvPr>
          <p:cNvSpPr/>
          <p:nvPr/>
        </p:nvSpPr>
        <p:spPr>
          <a:xfrm>
            <a:off x="6529865" y="2885191"/>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73" name="Rectangle 72">
            <a:extLst>
              <a:ext uri="{FF2B5EF4-FFF2-40B4-BE49-F238E27FC236}">
                <a16:creationId xmlns:a16="http://schemas.microsoft.com/office/drawing/2014/main" id="{CEC6FA5D-3C74-907F-EA7F-7662AC91A328}"/>
              </a:ext>
            </a:extLst>
          </p:cNvPr>
          <p:cNvSpPr/>
          <p:nvPr/>
        </p:nvSpPr>
        <p:spPr>
          <a:xfrm>
            <a:off x="8161871" y="1958655"/>
            <a:ext cx="162975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Green light to start working on the actual API, and allocates it into a new/existing API Sub Project</a:t>
            </a:r>
          </a:p>
        </p:txBody>
      </p:sp>
      <p:sp>
        <p:nvSpPr>
          <p:cNvPr id="74" name="Rectangle 73">
            <a:extLst>
              <a:ext uri="{FF2B5EF4-FFF2-40B4-BE49-F238E27FC236}">
                <a16:creationId xmlns:a16="http://schemas.microsoft.com/office/drawing/2014/main" id="{E9CFA89E-878C-3237-BAA5-4375616D66C0}"/>
              </a:ext>
            </a:extLst>
          </p:cNvPr>
          <p:cNvSpPr/>
          <p:nvPr/>
        </p:nvSpPr>
        <p:spPr>
          <a:xfrm>
            <a:off x="8161870" y="2885683"/>
            <a:ext cx="1629751" cy="265781"/>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75" name="Rectangle 74">
            <a:extLst>
              <a:ext uri="{FF2B5EF4-FFF2-40B4-BE49-F238E27FC236}">
                <a16:creationId xmlns:a16="http://schemas.microsoft.com/office/drawing/2014/main" id="{F15F772E-6D2B-01F2-B5B8-E636076BB455}"/>
              </a:ext>
            </a:extLst>
          </p:cNvPr>
          <p:cNvSpPr/>
          <p:nvPr/>
        </p:nvSpPr>
        <p:spPr>
          <a:xfrm>
            <a:off x="10009775" y="2882716"/>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76" name="Rectangle 75">
            <a:extLst>
              <a:ext uri="{FF2B5EF4-FFF2-40B4-BE49-F238E27FC236}">
                <a16:creationId xmlns:a16="http://schemas.microsoft.com/office/drawing/2014/main" id="{416F4B77-9B11-1D66-318A-FA77F1905815}"/>
              </a:ext>
            </a:extLst>
          </p:cNvPr>
          <p:cNvSpPr/>
          <p:nvPr/>
        </p:nvSpPr>
        <p:spPr>
          <a:xfrm>
            <a:off x="1913332" y="1623485"/>
            <a:ext cx="5944646" cy="18705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77" name="Rectangle 76">
            <a:extLst>
              <a:ext uri="{FF2B5EF4-FFF2-40B4-BE49-F238E27FC236}">
                <a16:creationId xmlns:a16="http://schemas.microsoft.com/office/drawing/2014/main" id="{320DC25A-72F2-AFDF-315E-86B745CCDD97}"/>
              </a:ext>
            </a:extLst>
          </p:cNvPr>
          <p:cNvSpPr/>
          <p:nvPr/>
        </p:nvSpPr>
        <p:spPr>
          <a:xfrm>
            <a:off x="8161871" y="1612098"/>
            <a:ext cx="1629750" cy="228679"/>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sp>
        <p:nvSpPr>
          <p:cNvPr id="78" name="Rectangle 77">
            <a:extLst>
              <a:ext uri="{FF2B5EF4-FFF2-40B4-BE49-F238E27FC236}">
                <a16:creationId xmlns:a16="http://schemas.microsoft.com/office/drawing/2014/main" id="{6EBB80EB-5BE7-2C91-8FB0-00CAEB0663B4}"/>
              </a:ext>
            </a:extLst>
          </p:cNvPr>
          <p:cNvSpPr/>
          <p:nvPr/>
        </p:nvSpPr>
        <p:spPr>
          <a:xfrm>
            <a:off x="10009775" y="1958655"/>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API lifecycle mgmt (developm., validation, maintenance,…)</a:t>
            </a:r>
          </a:p>
        </p:txBody>
      </p:sp>
      <p:sp>
        <p:nvSpPr>
          <p:cNvPr id="79" name="Rectangle 78">
            <a:extLst>
              <a:ext uri="{FF2B5EF4-FFF2-40B4-BE49-F238E27FC236}">
                <a16:creationId xmlns:a16="http://schemas.microsoft.com/office/drawing/2014/main" id="{470E23AC-FFC3-F071-9E9B-B95EFBA5E220}"/>
              </a:ext>
            </a:extLst>
          </p:cNvPr>
          <p:cNvSpPr/>
          <p:nvPr/>
        </p:nvSpPr>
        <p:spPr>
          <a:xfrm>
            <a:off x="10009775" y="1616897"/>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sp>
        <p:nvSpPr>
          <p:cNvPr id="80" name="Rectangle 79">
            <a:extLst>
              <a:ext uri="{FF2B5EF4-FFF2-40B4-BE49-F238E27FC236}">
                <a16:creationId xmlns:a16="http://schemas.microsoft.com/office/drawing/2014/main" id="{D9A07F7B-B47B-A9FD-F008-2DA95564B51A}"/>
              </a:ext>
            </a:extLst>
          </p:cNvPr>
          <p:cNvSpPr/>
          <p:nvPr/>
        </p:nvSpPr>
        <p:spPr>
          <a:xfrm>
            <a:off x="288925" y="1623485"/>
            <a:ext cx="1276118"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Where?)</a:t>
            </a:r>
          </a:p>
        </p:txBody>
      </p:sp>
      <p:sp>
        <p:nvSpPr>
          <p:cNvPr id="81" name="Rectangle 80">
            <a:extLst>
              <a:ext uri="{FF2B5EF4-FFF2-40B4-BE49-F238E27FC236}">
                <a16:creationId xmlns:a16="http://schemas.microsoft.com/office/drawing/2014/main" id="{EBE30BBB-CF73-6BF4-05B6-A1E2E1606DC9}"/>
              </a:ext>
            </a:extLst>
          </p:cNvPr>
          <p:cNvSpPr/>
          <p:nvPr/>
        </p:nvSpPr>
        <p:spPr>
          <a:xfrm>
            <a:off x="288924" y="1890434"/>
            <a:ext cx="1276119" cy="864365"/>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ction (What?)</a:t>
            </a:r>
          </a:p>
        </p:txBody>
      </p:sp>
      <p:sp>
        <p:nvSpPr>
          <p:cNvPr id="82" name="Rectangle 81">
            <a:extLst>
              <a:ext uri="{FF2B5EF4-FFF2-40B4-BE49-F238E27FC236}">
                <a16:creationId xmlns:a16="http://schemas.microsoft.com/office/drawing/2014/main" id="{9CFF4EFD-A8B2-C9E1-A310-17507131591E}"/>
              </a:ext>
            </a:extLst>
          </p:cNvPr>
          <p:cNvSpPr/>
          <p:nvPr/>
        </p:nvSpPr>
        <p:spPr>
          <a:xfrm>
            <a:off x="288924" y="2843391"/>
            <a:ext cx="1276119" cy="308073"/>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Owner (Who?)</a:t>
            </a:r>
          </a:p>
        </p:txBody>
      </p:sp>
      <p:cxnSp>
        <p:nvCxnSpPr>
          <p:cNvPr id="83" name="Straight Connector 82">
            <a:extLst>
              <a:ext uri="{FF2B5EF4-FFF2-40B4-BE49-F238E27FC236}">
                <a16:creationId xmlns:a16="http://schemas.microsoft.com/office/drawing/2014/main" id="{AE057E12-C820-3BDF-F2D2-01C97040A578}"/>
              </a:ext>
            </a:extLst>
          </p:cNvPr>
          <p:cNvCxnSpPr/>
          <p:nvPr/>
        </p:nvCxnSpPr>
        <p:spPr>
          <a:xfrm>
            <a:off x="1730452" y="1521384"/>
            <a:ext cx="0" cy="1780032"/>
          </a:xfrm>
          <a:prstGeom prst="line">
            <a:avLst/>
          </a:prstGeom>
          <a:noFill/>
          <a:ln w="28575" cap="flat" cmpd="sng" algn="ctr">
            <a:solidFill>
              <a:srgbClr val="6E7893"/>
            </a:solidFill>
            <a:prstDash val="dash"/>
            <a:miter lim="800000"/>
          </a:ln>
          <a:effectLst/>
        </p:spPr>
      </p:cxnSp>
      <p:cxnSp>
        <p:nvCxnSpPr>
          <p:cNvPr id="84" name="Straight Arrow Connector 83">
            <a:extLst>
              <a:ext uri="{FF2B5EF4-FFF2-40B4-BE49-F238E27FC236}">
                <a16:creationId xmlns:a16="http://schemas.microsoft.com/office/drawing/2014/main" id="{C60EC11F-A314-7459-64A1-FC05AD15C7F2}"/>
              </a:ext>
            </a:extLst>
          </p:cNvPr>
          <p:cNvCxnSpPr>
            <a:cxnSpLocks/>
            <a:endCxn id="69" idx="1"/>
          </p:cNvCxnSpPr>
          <p:nvPr/>
        </p:nvCxnSpPr>
        <p:spPr>
          <a:xfrm>
            <a:off x="3572822" y="2354328"/>
            <a:ext cx="458017" cy="0"/>
          </a:xfrm>
          <a:prstGeom prst="straightConnector1">
            <a:avLst/>
          </a:prstGeom>
          <a:noFill/>
          <a:ln w="6350" cap="flat" cmpd="sng" algn="ctr">
            <a:solidFill>
              <a:srgbClr val="6E7893"/>
            </a:solidFill>
            <a:prstDash val="solid"/>
            <a:miter lim="800000"/>
            <a:tailEnd type="triangle"/>
          </a:ln>
          <a:effectLst/>
        </p:spPr>
      </p:cxnSp>
      <p:sp>
        <p:nvSpPr>
          <p:cNvPr id="85" name="Diamond 84">
            <a:extLst>
              <a:ext uri="{FF2B5EF4-FFF2-40B4-BE49-F238E27FC236}">
                <a16:creationId xmlns:a16="http://schemas.microsoft.com/office/drawing/2014/main" id="{EA6645C3-6BDD-188B-E733-C813B051D891}"/>
              </a:ext>
            </a:extLst>
          </p:cNvPr>
          <p:cNvSpPr/>
          <p:nvPr/>
        </p:nvSpPr>
        <p:spPr>
          <a:xfrm>
            <a:off x="5785247" y="2200851"/>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86" name="Straight Arrow Connector 85">
            <a:extLst>
              <a:ext uri="{FF2B5EF4-FFF2-40B4-BE49-F238E27FC236}">
                <a16:creationId xmlns:a16="http://schemas.microsoft.com/office/drawing/2014/main" id="{B21F5470-8437-8577-A957-0056AB5CF771}"/>
              </a:ext>
            </a:extLst>
          </p:cNvPr>
          <p:cNvCxnSpPr>
            <a:cxnSpLocks/>
            <a:stCxn id="69" idx="3"/>
            <a:endCxn id="85" idx="1"/>
          </p:cNvCxnSpPr>
          <p:nvPr/>
        </p:nvCxnSpPr>
        <p:spPr>
          <a:xfrm>
            <a:off x="5562849" y="2354328"/>
            <a:ext cx="222398" cy="11386"/>
          </a:xfrm>
          <a:prstGeom prst="straightConnector1">
            <a:avLst/>
          </a:prstGeom>
          <a:noFill/>
          <a:ln w="6350" cap="flat" cmpd="sng" algn="ctr">
            <a:solidFill>
              <a:srgbClr val="6E7893"/>
            </a:solidFill>
            <a:prstDash val="solid"/>
            <a:miter lim="800000"/>
            <a:tailEnd type="triangle"/>
          </a:ln>
          <a:effectLst/>
        </p:spPr>
      </p:cxnSp>
      <p:cxnSp>
        <p:nvCxnSpPr>
          <p:cNvPr id="87" name="Straight Arrow Connector 86">
            <a:extLst>
              <a:ext uri="{FF2B5EF4-FFF2-40B4-BE49-F238E27FC236}">
                <a16:creationId xmlns:a16="http://schemas.microsoft.com/office/drawing/2014/main" id="{9AB71B49-A014-A8EC-1C7D-1CB38CFD7C45}"/>
              </a:ext>
            </a:extLst>
          </p:cNvPr>
          <p:cNvCxnSpPr>
            <a:cxnSpLocks/>
            <a:stCxn id="85" idx="3"/>
            <a:endCxn id="71" idx="1"/>
          </p:cNvCxnSpPr>
          <p:nvPr/>
        </p:nvCxnSpPr>
        <p:spPr>
          <a:xfrm>
            <a:off x="5985609" y="2365714"/>
            <a:ext cx="544256" cy="1619"/>
          </a:xfrm>
          <a:prstGeom prst="straightConnector1">
            <a:avLst/>
          </a:prstGeom>
          <a:noFill/>
          <a:ln w="6350" cap="flat" cmpd="sng" algn="ctr">
            <a:solidFill>
              <a:srgbClr val="6E7893"/>
            </a:solidFill>
            <a:prstDash val="solid"/>
            <a:miter lim="800000"/>
            <a:tailEnd type="triangle"/>
          </a:ln>
          <a:effectLst/>
        </p:spPr>
      </p:cxnSp>
      <p:cxnSp>
        <p:nvCxnSpPr>
          <p:cNvPr id="88" name="Straight Arrow Connector 87">
            <a:extLst>
              <a:ext uri="{FF2B5EF4-FFF2-40B4-BE49-F238E27FC236}">
                <a16:creationId xmlns:a16="http://schemas.microsoft.com/office/drawing/2014/main" id="{67A305CE-73B0-4EA7-A17E-14A067F28CA7}"/>
              </a:ext>
            </a:extLst>
          </p:cNvPr>
          <p:cNvCxnSpPr>
            <a:cxnSpLocks/>
            <a:stCxn id="85" idx="2"/>
          </p:cNvCxnSpPr>
          <p:nvPr/>
        </p:nvCxnSpPr>
        <p:spPr>
          <a:xfrm>
            <a:off x="5885428" y="2530577"/>
            <a:ext cx="0" cy="728685"/>
          </a:xfrm>
          <a:prstGeom prst="straightConnector1">
            <a:avLst/>
          </a:prstGeom>
          <a:noFill/>
          <a:ln w="6350" cap="flat" cmpd="sng" algn="ctr">
            <a:solidFill>
              <a:srgbClr val="6E7893"/>
            </a:solidFill>
            <a:prstDash val="solid"/>
            <a:miter lim="800000"/>
            <a:tailEnd type="triangle"/>
          </a:ln>
          <a:effectLst/>
        </p:spPr>
      </p:cxnSp>
      <p:sp>
        <p:nvSpPr>
          <p:cNvPr id="89" name="TextBox 88">
            <a:extLst>
              <a:ext uri="{FF2B5EF4-FFF2-40B4-BE49-F238E27FC236}">
                <a16:creationId xmlns:a16="http://schemas.microsoft.com/office/drawing/2014/main" id="{21D64189-A7B1-94EC-7F88-7E345781F835}"/>
              </a:ext>
            </a:extLst>
          </p:cNvPr>
          <p:cNvSpPr txBox="1"/>
          <p:nvPr/>
        </p:nvSpPr>
        <p:spPr>
          <a:xfrm>
            <a:off x="5674491" y="3208450"/>
            <a:ext cx="6367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0066FF"/>
                </a:solidFill>
                <a:effectLst/>
                <a:uLnTx/>
                <a:uFillTx/>
              </a:rPr>
              <a:t>No go!</a:t>
            </a:r>
          </a:p>
        </p:txBody>
      </p:sp>
      <p:sp>
        <p:nvSpPr>
          <p:cNvPr id="90" name="TextBox 89">
            <a:extLst>
              <a:ext uri="{FF2B5EF4-FFF2-40B4-BE49-F238E27FC236}">
                <a16:creationId xmlns:a16="http://schemas.microsoft.com/office/drawing/2014/main" id="{FC1D5038-EBF8-7AD4-2902-C5E8843DEF28}"/>
              </a:ext>
            </a:extLst>
          </p:cNvPr>
          <p:cNvSpPr txBox="1"/>
          <p:nvPr/>
        </p:nvSpPr>
        <p:spPr>
          <a:xfrm>
            <a:off x="6060158" y="2117053"/>
            <a:ext cx="49244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91" name="TextBox 90">
            <a:extLst>
              <a:ext uri="{FF2B5EF4-FFF2-40B4-BE49-F238E27FC236}">
                <a16:creationId xmlns:a16="http://schemas.microsoft.com/office/drawing/2014/main" id="{824EE3DE-F9F2-4CCE-3BAE-ECF0743498D3}"/>
              </a:ext>
            </a:extLst>
          </p:cNvPr>
          <p:cNvSpPr txBox="1"/>
          <p:nvPr/>
        </p:nvSpPr>
        <p:spPr>
          <a:xfrm>
            <a:off x="5829098" y="2482348"/>
            <a:ext cx="41549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NO</a:t>
            </a:r>
          </a:p>
        </p:txBody>
      </p:sp>
      <p:sp>
        <p:nvSpPr>
          <p:cNvPr id="92" name="TextBox 91">
            <a:extLst>
              <a:ext uri="{FF2B5EF4-FFF2-40B4-BE49-F238E27FC236}">
                <a16:creationId xmlns:a16="http://schemas.microsoft.com/office/drawing/2014/main" id="{CAD8791C-040A-40E0-3CC4-066C8512E203}"/>
              </a:ext>
            </a:extLst>
          </p:cNvPr>
          <p:cNvSpPr txBox="1"/>
          <p:nvPr/>
        </p:nvSpPr>
        <p:spPr>
          <a:xfrm>
            <a:off x="5562848" y="1743584"/>
            <a:ext cx="1096126"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000" b="0" i="0" u="none" strike="noStrike" kern="0" cap="none" spc="0" normalizeH="0" baseline="0" noProof="0">
                <a:ln>
                  <a:noFill/>
                </a:ln>
                <a:solidFill>
                  <a:srgbClr val="0066FF"/>
                </a:solidFill>
                <a:effectLst/>
                <a:uLnTx/>
                <a:uFillTx/>
              </a:rPr>
              <a:t>Do participants see value in the API? </a:t>
            </a:r>
          </a:p>
        </p:txBody>
      </p:sp>
      <p:cxnSp>
        <p:nvCxnSpPr>
          <p:cNvPr id="93" name="Straight Arrow Connector 92">
            <a:extLst>
              <a:ext uri="{FF2B5EF4-FFF2-40B4-BE49-F238E27FC236}">
                <a16:creationId xmlns:a16="http://schemas.microsoft.com/office/drawing/2014/main" id="{BDEC5779-E8F9-A453-CCE5-CF11D15A7DD2}"/>
              </a:ext>
            </a:extLst>
          </p:cNvPr>
          <p:cNvCxnSpPr>
            <a:cxnSpLocks/>
            <a:stCxn id="71" idx="3"/>
            <a:endCxn id="73" idx="1"/>
          </p:cNvCxnSpPr>
          <p:nvPr/>
        </p:nvCxnSpPr>
        <p:spPr>
          <a:xfrm flipV="1">
            <a:off x="7857977" y="2359127"/>
            <a:ext cx="303894" cy="8206"/>
          </a:xfrm>
          <a:prstGeom prst="straightConnector1">
            <a:avLst/>
          </a:prstGeom>
          <a:noFill/>
          <a:ln w="6350" cap="flat" cmpd="sng" algn="ctr">
            <a:solidFill>
              <a:srgbClr val="6E7893"/>
            </a:solidFill>
            <a:prstDash val="solid"/>
            <a:miter lim="800000"/>
            <a:tailEnd type="triangle"/>
          </a:ln>
          <a:effectLst/>
        </p:spPr>
      </p:cxnSp>
      <p:cxnSp>
        <p:nvCxnSpPr>
          <p:cNvPr id="94" name="Straight Arrow Connector 93">
            <a:extLst>
              <a:ext uri="{FF2B5EF4-FFF2-40B4-BE49-F238E27FC236}">
                <a16:creationId xmlns:a16="http://schemas.microsoft.com/office/drawing/2014/main" id="{1ABBFBED-E388-7377-A11D-EDB6950FD8F4}"/>
              </a:ext>
            </a:extLst>
          </p:cNvPr>
          <p:cNvCxnSpPr>
            <a:cxnSpLocks/>
            <a:stCxn id="73" idx="3"/>
            <a:endCxn id="78" idx="1"/>
          </p:cNvCxnSpPr>
          <p:nvPr/>
        </p:nvCxnSpPr>
        <p:spPr>
          <a:xfrm>
            <a:off x="9791623" y="2359127"/>
            <a:ext cx="218152" cy="0"/>
          </a:xfrm>
          <a:prstGeom prst="straightConnector1">
            <a:avLst/>
          </a:prstGeom>
          <a:noFill/>
          <a:ln w="6350" cap="flat" cmpd="sng" algn="ctr">
            <a:solidFill>
              <a:srgbClr val="6E7893"/>
            </a:solidFill>
            <a:prstDash val="solid"/>
            <a:miter lim="800000"/>
            <a:tailEnd type="triangle"/>
          </a:ln>
          <a:effectLst/>
        </p:spPr>
      </p:cxnSp>
      <p:sp>
        <p:nvSpPr>
          <p:cNvPr id="107" name="Content Placeholder 2">
            <a:extLst>
              <a:ext uri="{FF2B5EF4-FFF2-40B4-BE49-F238E27FC236}">
                <a16:creationId xmlns:a16="http://schemas.microsoft.com/office/drawing/2014/main" id="{70F44485-E384-B3DE-22FE-E5FD9A3A28C6}"/>
              </a:ext>
            </a:extLst>
          </p:cNvPr>
          <p:cNvSpPr txBox="1">
            <a:spLocks/>
          </p:cNvSpPr>
          <p:nvPr/>
        </p:nvSpPr>
        <p:spPr>
          <a:xfrm>
            <a:off x="280865" y="3615538"/>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Tentative (new) workflow</a:t>
            </a:r>
          </a:p>
        </p:txBody>
      </p:sp>
      <p:sp>
        <p:nvSpPr>
          <p:cNvPr id="108" name="Rectangle 107">
            <a:extLst>
              <a:ext uri="{FF2B5EF4-FFF2-40B4-BE49-F238E27FC236}">
                <a16:creationId xmlns:a16="http://schemas.microsoft.com/office/drawing/2014/main" id="{C2D892E3-A434-2D01-36CD-D0DA48910699}"/>
              </a:ext>
            </a:extLst>
          </p:cNvPr>
          <p:cNvSpPr/>
          <p:nvPr/>
        </p:nvSpPr>
        <p:spPr>
          <a:xfrm>
            <a:off x="357700" y="4324023"/>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Submit API proposal, by filling out a well-defined template </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see slide 7)</a:t>
            </a:r>
          </a:p>
        </p:txBody>
      </p:sp>
      <p:sp>
        <p:nvSpPr>
          <p:cNvPr id="109" name="Rectangle 108">
            <a:extLst>
              <a:ext uri="{FF2B5EF4-FFF2-40B4-BE49-F238E27FC236}">
                <a16:creationId xmlns:a16="http://schemas.microsoft.com/office/drawing/2014/main" id="{7B44E863-C68B-2AD0-B0FC-218771E31EA8}"/>
              </a:ext>
            </a:extLst>
          </p:cNvPr>
          <p:cNvSpPr/>
          <p:nvPr/>
        </p:nvSpPr>
        <p:spPr>
          <a:xfrm>
            <a:off x="335243" y="5271600"/>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112" name="Rectangle 111">
            <a:extLst>
              <a:ext uri="{FF2B5EF4-FFF2-40B4-BE49-F238E27FC236}">
                <a16:creationId xmlns:a16="http://schemas.microsoft.com/office/drawing/2014/main" id="{05B425F6-A880-7FAC-F9B8-C296CFEF22CD}"/>
              </a:ext>
            </a:extLst>
          </p:cNvPr>
          <p:cNvSpPr/>
          <p:nvPr/>
        </p:nvSpPr>
        <p:spPr>
          <a:xfrm>
            <a:off x="4797344" y="4319921"/>
            <a:ext cx="1447269"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Send </a:t>
            </a:r>
            <a:r>
              <a:rPr lang="en-ES" sz="1100" kern="0" dirty="0">
                <a:solidFill>
                  <a:srgbClr val="FFFFFF"/>
                </a:solidFill>
                <a:latin typeface="Arial" panose="020B0604020202020204"/>
              </a:rPr>
              <a:t>the API proposal to SteerCo for approval, with a summary report </a:t>
            </a:r>
            <a:r>
              <a:rPr lang="en-ES" sz="1100" kern="0" dirty="0">
                <a:solidFill>
                  <a:schemeClr val="accent1"/>
                </a:solidFill>
                <a:latin typeface="Arial" panose="020B0604020202020204"/>
              </a:rPr>
              <a:t>(see slide 8)</a:t>
            </a:r>
            <a:endPar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695656D5-0008-9206-9DEE-FF8CA41EC999}"/>
              </a:ext>
            </a:extLst>
          </p:cNvPr>
          <p:cNvSpPr/>
          <p:nvPr/>
        </p:nvSpPr>
        <p:spPr>
          <a:xfrm>
            <a:off x="4778818" y="5232685"/>
            <a:ext cx="1447269"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WG coordinator</a:t>
            </a:r>
          </a:p>
        </p:txBody>
      </p:sp>
      <p:sp>
        <p:nvSpPr>
          <p:cNvPr id="114" name="Rectangle 113">
            <a:extLst>
              <a:ext uri="{FF2B5EF4-FFF2-40B4-BE49-F238E27FC236}">
                <a16:creationId xmlns:a16="http://schemas.microsoft.com/office/drawing/2014/main" id="{03449127-44F8-C57C-A8CC-F01990656F62}"/>
              </a:ext>
            </a:extLst>
          </p:cNvPr>
          <p:cNvSpPr/>
          <p:nvPr/>
        </p:nvSpPr>
        <p:spPr>
          <a:xfrm>
            <a:off x="6548507" y="4319920"/>
            <a:ext cx="293257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a:defRPr/>
            </a:pPr>
            <a:r>
              <a:rPr lang="en-ES" sz="1100" kern="0" dirty="0">
                <a:solidFill>
                  <a:schemeClr val="bg1"/>
                </a:solidFill>
              </a:rPr>
              <a:t>Ack’es net neutrality impact assessment. </a:t>
            </a:r>
          </a:p>
          <a:p>
            <a:pPr>
              <a:defRPr/>
            </a:pPr>
            <a:r>
              <a:rPr lang="en-ES" sz="1100" kern="0" dirty="0">
                <a:solidFill>
                  <a:schemeClr val="bg1"/>
                </a:solidFill>
              </a:rPr>
              <a:t>Decide on the allocation of the API proposal into an existing/new API Sub Project, based on well-defined decision criteria </a:t>
            </a:r>
            <a:r>
              <a:rPr lang="en-ES" sz="1100" kern="0" dirty="0">
                <a:solidFill>
                  <a:schemeClr val="accent1"/>
                </a:solidFill>
              </a:rPr>
              <a:t>(slide 9)</a:t>
            </a:r>
          </a:p>
        </p:txBody>
      </p:sp>
      <p:sp>
        <p:nvSpPr>
          <p:cNvPr id="115" name="Rectangle 114">
            <a:extLst>
              <a:ext uri="{FF2B5EF4-FFF2-40B4-BE49-F238E27FC236}">
                <a16:creationId xmlns:a16="http://schemas.microsoft.com/office/drawing/2014/main" id="{02524EDA-8CA1-7FCA-28A8-BCF405016818}"/>
              </a:ext>
            </a:extLst>
          </p:cNvPr>
          <p:cNvSpPr/>
          <p:nvPr/>
        </p:nvSpPr>
        <p:spPr>
          <a:xfrm>
            <a:off x="6501829" y="5234362"/>
            <a:ext cx="2979250"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116" name="Rectangle 115">
            <a:extLst>
              <a:ext uri="{FF2B5EF4-FFF2-40B4-BE49-F238E27FC236}">
                <a16:creationId xmlns:a16="http://schemas.microsoft.com/office/drawing/2014/main" id="{7D47C7CF-3908-D13E-EEEF-6D37CA2617D4}"/>
              </a:ext>
            </a:extLst>
          </p:cNvPr>
          <p:cNvSpPr/>
          <p:nvPr/>
        </p:nvSpPr>
        <p:spPr>
          <a:xfrm>
            <a:off x="10083071" y="5238960"/>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117" name="Rectangle 116">
            <a:extLst>
              <a:ext uri="{FF2B5EF4-FFF2-40B4-BE49-F238E27FC236}">
                <a16:creationId xmlns:a16="http://schemas.microsoft.com/office/drawing/2014/main" id="{88E1F4CB-2249-F31F-0B27-D3623041D9A4}"/>
              </a:ext>
            </a:extLst>
          </p:cNvPr>
          <p:cNvSpPr/>
          <p:nvPr/>
        </p:nvSpPr>
        <p:spPr>
          <a:xfrm>
            <a:off x="299967" y="3949339"/>
            <a:ext cx="5944629" cy="19479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119" name="Rectangle 118">
            <a:extLst>
              <a:ext uri="{FF2B5EF4-FFF2-40B4-BE49-F238E27FC236}">
                <a16:creationId xmlns:a16="http://schemas.microsoft.com/office/drawing/2014/main" id="{F125FBFE-8DAD-13CC-BB52-3B57D135C63C}"/>
              </a:ext>
            </a:extLst>
          </p:cNvPr>
          <p:cNvSpPr/>
          <p:nvPr/>
        </p:nvSpPr>
        <p:spPr>
          <a:xfrm>
            <a:off x="10055975" y="4319920"/>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API lifecycle mgmt (developm., validation, maintenance,…)</a:t>
            </a:r>
          </a:p>
        </p:txBody>
      </p:sp>
      <p:sp>
        <p:nvSpPr>
          <p:cNvPr id="120" name="Rectangle 119">
            <a:extLst>
              <a:ext uri="{FF2B5EF4-FFF2-40B4-BE49-F238E27FC236}">
                <a16:creationId xmlns:a16="http://schemas.microsoft.com/office/drawing/2014/main" id="{E0488320-4296-DD54-B01D-898CA0AA0379}"/>
              </a:ext>
            </a:extLst>
          </p:cNvPr>
          <p:cNvSpPr/>
          <p:nvPr/>
        </p:nvSpPr>
        <p:spPr>
          <a:xfrm>
            <a:off x="10083071" y="3925905"/>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cxnSp>
        <p:nvCxnSpPr>
          <p:cNvPr id="125" name="Straight Arrow Connector 124">
            <a:extLst>
              <a:ext uri="{FF2B5EF4-FFF2-40B4-BE49-F238E27FC236}">
                <a16:creationId xmlns:a16="http://schemas.microsoft.com/office/drawing/2014/main" id="{4A7B6E38-F17D-D9A3-7915-F9F779DB1D77}"/>
              </a:ext>
            </a:extLst>
          </p:cNvPr>
          <p:cNvCxnSpPr>
            <a:cxnSpLocks/>
            <a:stCxn id="108" idx="3"/>
            <a:endCxn id="164" idx="1"/>
          </p:cNvCxnSpPr>
          <p:nvPr/>
        </p:nvCxnSpPr>
        <p:spPr>
          <a:xfrm>
            <a:off x="2106424" y="4724495"/>
            <a:ext cx="540400" cy="1984"/>
          </a:xfrm>
          <a:prstGeom prst="straightConnector1">
            <a:avLst/>
          </a:prstGeom>
          <a:noFill/>
          <a:ln w="6350" cap="flat" cmpd="sng" algn="ctr">
            <a:solidFill>
              <a:srgbClr val="6E7893"/>
            </a:solidFill>
            <a:prstDash val="solid"/>
            <a:miter lim="800000"/>
            <a:tailEnd type="triangle"/>
          </a:ln>
          <a:effectLst/>
        </p:spPr>
      </p:cxnSp>
      <p:sp>
        <p:nvSpPr>
          <p:cNvPr id="131" name="TextBox 130">
            <a:extLst>
              <a:ext uri="{FF2B5EF4-FFF2-40B4-BE49-F238E27FC236}">
                <a16:creationId xmlns:a16="http://schemas.microsoft.com/office/drawing/2014/main" id="{F07F27C6-B017-5E49-1FB2-D0757A2F834E}"/>
              </a:ext>
            </a:extLst>
          </p:cNvPr>
          <p:cNvSpPr txBox="1"/>
          <p:nvPr/>
        </p:nvSpPr>
        <p:spPr>
          <a:xfrm>
            <a:off x="2762297" y="4442291"/>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132" name="TextBox 131">
            <a:extLst>
              <a:ext uri="{FF2B5EF4-FFF2-40B4-BE49-F238E27FC236}">
                <a16:creationId xmlns:a16="http://schemas.microsoft.com/office/drawing/2014/main" id="{0F6E5546-B419-0217-F1B4-72C890137962}"/>
              </a:ext>
            </a:extLst>
          </p:cNvPr>
          <p:cNvSpPr txBox="1"/>
          <p:nvPr/>
        </p:nvSpPr>
        <p:spPr>
          <a:xfrm>
            <a:off x="2681320" y="4834278"/>
            <a:ext cx="49068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6C6C6C"/>
                </a:solidFill>
                <a:effectLst/>
                <a:uLnTx/>
                <a:uFillTx/>
              </a:rPr>
              <a:t>NO</a:t>
            </a:r>
          </a:p>
        </p:txBody>
      </p:sp>
      <p:cxnSp>
        <p:nvCxnSpPr>
          <p:cNvPr id="134" name="Straight Arrow Connector 133">
            <a:extLst>
              <a:ext uri="{FF2B5EF4-FFF2-40B4-BE49-F238E27FC236}">
                <a16:creationId xmlns:a16="http://schemas.microsoft.com/office/drawing/2014/main" id="{348BA3D7-31BE-77B6-A248-E25CB7237DAF}"/>
              </a:ext>
            </a:extLst>
          </p:cNvPr>
          <p:cNvCxnSpPr>
            <a:cxnSpLocks/>
            <a:stCxn id="112" idx="3"/>
            <a:endCxn id="114" idx="1"/>
          </p:cNvCxnSpPr>
          <p:nvPr/>
        </p:nvCxnSpPr>
        <p:spPr>
          <a:xfrm flipV="1">
            <a:off x="6244613" y="4720392"/>
            <a:ext cx="303894" cy="8206"/>
          </a:xfrm>
          <a:prstGeom prst="straightConnector1">
            <a:avLst/>
          </a:prstGeom>
          <a:noFill/>
          <a:ln w="6350" cap="flat" cmpd="sng" algn="ctr">
            <a:solidFill>
              <a:srgbClr val="6E7893"/>
            </a:solidFill>
            <a:prstDash val="solid"/>
            <a:miter lim="800000"/>
            <a:tailEnd type="triangle"/>
          </a:ln>
          <a:effectLst/>
        </p:spPr>
      </p:cxnSp>
      <p:cxnSp>
        <p:nvCxnSpPr>
          <p:cNvPr id="137" name="Elbow Connector 136">
            <a:extLst>
              <a:ext uri="{FF2B5EF4-FFF2-40B4-BE49-F238E27FC236}">
                <a16:creationId xmlns:a16="http://schemas.microsoft.com/office/drawing/2014/main" id="{EB22D3CE-60A9-2F44-1E4B-270CE5C66B76}"/>
              </a:ext>
            </a:extLst>
          </p:cNvPr>
          <p:cNvCxnSpPr>
            <a:cxnSpLocks/>
            <a:stCxn id="164" idx="2"/>
            <a:endCxn id="108" idx="1"/>
          </p:cNvCxnSpPr>
          <p:nvPr/>
        </p:nvCxnSpPr>
        <p:spPr>
          <a:xfrm rot="5400000" flipH="1">
            <a:off x="1468929" y="3613267"/>
            <a:ext cx="166847" cy="2389305"/>
          </a:xfrm>
          <a:prstGeom prst="bentConnector4">
            <a:avLst>
              <a:gd name="adj1" fmla="val -180321"/>
              <a:gd name="adj2" fmla="val 109568"/>
            </a:avLst>
          </a:prstGeom>
          <a:ln>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55262381-21FD-999C-EE1A-4D128E83C21C}"/>
              </a:ext>
            </a:extLst>
          </p:cNvPr>
          <p:cNvSpPr/>
          <p:nvPr/>
        </p:nvSpPr>
        <p:spPr>
          <a:xfrm>
            <a:off x="3277237" y="4319920"/>
            <a:ext cx="11584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Each </a:t>
            </a:r>
            <a:r>
              <a:rPr lang="en-ES" sz="1100" kern="0" dirty="0">
                <a:solidFill>
                  <a:schemeClr val="bg1"/>
                </a:solidFill>
                <a:latin typeface="Arial" panose="020B0604020202020204"/>
              </a:rPr>
              <a:t>company declares their support/no support to the API proposal</a:t>
            </a:r>
            <a:endPar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162" name="Rectangle 161">
            <a:extLst>
              <a:ext uri="{FF2B5EF4-FFF2-40B4-BE49-F238E27FC236}">
                <a16:creationId xmlns:a16="http://schemas.microsoft.com/office/drawing/2014/main" id="{80E3A41B-C81B-67A2-7D1E-8F157479C659}"/>
              </a:ext>
            </a:extLst>
          </p:cNvPr>
          <p:cNvSpPr/>
          <p:nvPr/>
        </p:nvSpPr>
        <p:spPr>
          <a:xfrm>
            <a:off x="2268887" y="5263490"/>
            <a:ext cx="2166762"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164" name="Diamond 163">
            <a:extLst>
              <a:ext uri="{FF2B5EF4-FFF2-40B4-BE49-F238E27FC236}">
                <a16:creationId xmlns:a16="http://schemas.microsoft.com/office/drawing/2014/main" id="{99F6AA1B-FCCE-2D9C-9EDB-49B119A6BFEE}"/>
              </a:ext>
            </a:extLst>
          </p:cNvPr>
          <p:cNvSpPr/>
          <p:nvPr/>
        </p:nvSpPr>
        <p:spPr>
          <a:xfrm>
            <a:off x="2646824" y="4561616"/>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TextBox 165">
            <a:extLst>
              <a:ext uri="{FF2B5EF4-FFF2-40B4-BE49-F238E27FC236}">
                <a16:creationId xmlns:a16="http://schemas.microsoft.com/office/drawing/2014/main" id="{3DF67284-194E-0C21-7865-29261DC7645C}"/>
              </a:ext>
            </a:extLst>
          </p:cNvPr>
          <p:cNvSpPr txBox="1"/>
          <p:nvPr/>
        </p:nvSpPr>
        <p:spPr>
          <a:xfrm>
            <a:off x="2268887" y="4135590"/>
            <a:ext cx="109612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ES" sz="1000" kern="0">
                <a:solidFill>
                  <a:srgbClr val="0066FF"/>
                </a:solidFill>
              </a:rPr>
              <a:t>Is the template duly filled out?</a:t>
            </a:r>
            <a:endParaRPr kumimoji="0" lang="en-ES" sz="1000" b="0" i="0" u="none" strike="noStrike" kern="0" cap="none" spc="0" normalizeH="0" baseline="0" noProof="0">
              <a:ln>
                <a:noFill/>
              </a:ln>
              <a:solidFill>
                <a:srgbClr val="0066FF"/>
              </a:solidFill>
              <a:effectLst/>
              <a:uLnTx/>
              <a:uFillTx/>
            </a:endParaRPr>
          </a:p>
        </p:txBody>
      </p:sp>
      <p:cxnSp>
        <p:nvCxnSpPr>
          <p:cNvPr id="168" name="Straight Arrow Connector 167">
            <a:extLst>
              <a:ext uri="{FF2B5EF4-FFF2-40B4-BE49-F238E27FC236}">
                <a16:creationId xmlns:a16="http://schemas.microsoft.com/office/drawing/2014/main" id="{84FD3B97-4F39-DF8F-3472-C098D3407BAE}"/>
              </a:ext>
            </a:extLst>
          </p:cNvPr>
          <p:cNvCxnSpPr>
            <a:cxnSpLocks/>
            <a:stCxn id="164" idx="3"/>
            <a:endCxn id="161" idx="1"/>
          </p:cNvCxnSpPr>
          <p:nvPr/>
        </p:nvCxnSpPr>
        <p:spPr>
          <a:xfrm flipV="1">
            <a:off x="2847186" y="4720392"/>
            <a:ext cx="430051" cy="6087"/>
          </a:xfrm>
          <a:prstGeom prst="straightConnector1">
            <a:avLst/>
          </a:prstGeom>
          <a:noFill/>
          <a:ln w="6350" cap="flat" cmpd="sng" algn="ctr">
            <a:solidFill>
              <a:srgbClr val="6E7893"/>
            </a:solidFill>
            <a:prstDash val="solid"/>
            <a:miter lim="800000"/>
            <a:tailEnd type="triangle"/>
          </a:ln>
          <a:effectLst/>
        </p:spPr>
      </p:cxnSp>
      <p:sp>
        <p:nvSpPr>
          <p:cNvPr id="173" name="Rectangle 172">
            <a:extLst>
              <a:ext uri="{FF2B5EF4-FFF2-40B4-BE49-F238E27FC236}">
                <a16:creationId xmlns:a16="http://schemas.microsoft.com/office/drawing/2014/main" id="{893304C7-DFE5-46B3-1599-90CBB045CC6C}"/>
              </a:ext>
            </a:extLst>
          </p:cNvPr>
          <p:cNvSpPr/>
          <p:nvPr/>
        </p:nvSpPr>
        <p:spPr>
          <a:xfrm>
            <a:off x="6519534" y="3930479"/>
            <a:ext cx="2961545" cy="213652"/>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cxnSp>
        <p:nvCxnSpPr>
          <p:cNvPr id="221" name="Straight Arrow Connector 220">
            <a:extLst>
              <a:ext uri="{FF2B5EF4-FFF2-40B4-BE49-F238E27FC236}">
                <a16:creationId xmlns:a16="http://schemas.microsoft.com/office/drawing/2014/main" id="{42BA99DF-CF2E-21E2-D452-4BDA63F18469}"/>
              </a:ext>
            </a:extLst>
          </p:cNvPr>
          <p:cNvCxnSpPr>
            <a:cxnSpLocks/>
            <a:stCxn id="114" idx="3"/>
            <a:endCxn id="119" idx="1"/>
          </p:cNvCxnSpPr>
          <p:nvPr/>
        </p:nvCxnSpPr>
        <p:spPr>
          <a:xfrm>
            <a:off x="9481079" y="4720392"/>
            <a:ext cx="574896" cy="0"/>
          </a:xfrm>
          <a:prstGeom prst="straightConnector1">
            <a:avLst/>
          </a:prstGeom>
          <a:noFill/>
          <a:ln w="6350" cap="flat" cmpd="sng" algn="ctr">
            <a:solidFill>
              <a:srgbClr val="6E7893"/>
            </a:solidFill>
            <a:prstDash val="solid"/>
            <a:miter lim="800000"/>
            <a:tailEnd type="triangle"/>
          </a:ln>
          <a:effectLst/>
        </p:spPr>
      </p:cxnSp>
      <p:cxnSp>
        <p:nvCxnSpPr>
          <p:cNvPr id="233" name="Straight Arrow Connector 232">
            <a:extLst>
              <a:ext uri="{FF2B5EF4-FFF2-40B4-BE49-F238E27FC236}">
                <a16:creationId xmlns:a16="http://schemas.microsoft.com/office/drawing/2014/main" id="{DB45211D-C17A-5445-4FE7-D2000245FF8F}"/>
              </a:ext>
            </a:extLst>
          </p:cNvPr>
          <p:cNvCxnSpPr>
            <a:cxnSpLocks/>
          </p:cNvCxnSpPr>
          <p:nvPr/>
        </p:nvCxnSpPr>
        <p:spPr>
          <a:xfrm flipV="1">
            <a:off x="1971063" y="6023911"/>
            <a:ext cx="791234" cy="836"/>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D526C31C-8974-7AEB-4999-EA71F2A4E07C}"/>
              </a:ext>
            </a:extLst>
          </p:cNvPr>
          <p:cNvCxnSpPr>
            <a:cxnSpLocks/>
          </p:cNvCxnSpPr>
          <p:nvPr/>
        </p:nvCxnSpPr>
        <p:spPr>
          <a:xfrm flipH="1">
            <a:off x="1976270" y="5801909"/>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6F9696A2-6237-2C11-073E-EDA7CCA3C907}"/>
              </a:ext>
            </a:extLst>
          </p:cNvPr>
          <p:cNvCxnSpPr>
            <a:cxnSpLocks/>
          </p:cNvCxnSpPr>
          <p:nvPr/>
        </p:nvCxnSpPr>
        <p:spPr>
          <a:xfrm>
            <a:off x="2747005"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7FBEDA7C-D4BF-D2F7-379D-E9A0FD19BF3B}"/>
              </a:ext>
            </a:extLst>
          </p:cNvPr>
          <p:cNvSpPr txBox="1"/>
          <p:nvPr/>
        </p:nvSpPr>
        <p:spPr>
          <a:xfrm>
            <a:off x="1786579" y="6233972"/>
            <a:ext cx="2649070" cy="261610"/>
          </a:xfrm>
          <a:prstGeom prst="rect">
            <a:avLst/>
          </a:prstGeom>
          <a:noFill/>
        </p:spPr>
        <p:txBody>
          <a:bodyPr wrap="square" rtlCol="0">
            <a:spAutoFit/>
          </a:bodyPr>
          <a:lstStyle/>
          <a:p>
            <a:r>
              <a:rPr lang="en-ES" sz="1100">
                <a:solidFill>
                  <a:srgbClr val="32B9AF"/>
                </a:solidFill>
              </a:rPr>
              <a:t>T</a:t>
            </a:r>
            <a:r>
              <a:rPr lang="en-GB" sz="1100" err="1">
                <a:solidFill>
                  <a:srgbClr val="32B9AF"/>
                </a:solidFill>
              </a:rPr>
              <a:t>i</a:t>
            </a:r>
            <a:r>
              <a:rPr lang="en-ES" sz="1100">
                <a:solidFill>
                  <a:srgbClr val="32B9AF"/>
                </a:solidFill>
              </a:rPr>
              <a:t>me window 1</a:t>
            </a:r>
          </a:p>
        </p:txBody>
      </p:sp>
      <p:cxnSp>
        <p:nvCxnSpPr>
          <p:cNvPr id="254" name="Straight Arrow Connector 253">
            <a:extLst>
              <a:ext uri="{FF2B5EF4-FFF2-40B4-BE49-F238E27FC236}">
                <a16:creationId xmlns:a16="http://schemas.microsoft.com/office/drawing/2014/main" id="{06310DA2-141A-64AE-D062-4AC7C5231379}"/>
              </a:ext>
            </a:extLst>
          </p:cNvPr>
          <p:cNvCxnSpPr>
            <a:cxnSpLocks/>
            <a:stCxn id="161" idx="3"/>
            <a:endCxn id="112" idx="1"/>
          </p:cNvCxnSpPr>
          <p:nvPr/>
        </p:nvCxnSpPr>
        <p:spPr>
          <a:xfrm>
            <a:off x="4435649" y="4720392"/>
            <a:ext cx="361695" cy="8206"/>
          </a:xfrm>
          <a:prstGeom prst="straightConnector1">
            <a:avLst/>
          </a:prstGeom>
          <a:noFill/>
          <a:ln w="6350" cap="flat" cmpd="sng" algn="ctr">
            <a:solidFill>
              <a:srgbClr val="6E7893"/>
            </a:solidFill>
            <a:prstDash val="solid"/>
            <a:miter lim="800000"/>
            <a:tailEnd type="triangle"/>
          </a:ln>
          <a:effectLst/>
        </p:spPr>
      </p:cxnSp>
      <p:cxnSp>
        <p:nvCxnSpPr>
          <p:cNvPr id="272" name="Straight Arrow Connector 271">
            <a:extLst>
              <a:ext uri="{FF2B5EF4-FFF2-40B4-BE49-F238E27FC236}">
                <a16:creationId xmlns:a16="http://schemas.microsoft.com/office/drawing/2014/main" id="{B8D45526-F4B4-94EC-E84C-CA663FEB3ED7}"/>
              </a:ext>
            </a:extLst>
          </p:cNvPr>
          <p:cNvCxnSpPr>
            <a:cxnSpLocks/>
          </p:cNvCxnSpPr>
          <p:nvPr/>
        </p:nvCxnSpPr>
        <p:spPr>
          <a:xfrm flipV="1">
            <a:off x="3343769" y="6022720"/>
            <a:ext cx="1091880" cy="6851"/>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D0DA99AA-01E5-5E8C-84A3-AA1C84726C4D}"/>
              </a:ext>
            </a:extLst>
          </p:cNvPr>
          <p:cNvCxnSpPr>
            <a:cxnSpLocks/>
          </p:cNvCxnSpPr>
          <p:nvPr/>
        </p:nvCxnSpPr>
        <p:spPr>
          <a:xfrm flipH="1">
            <a:off x="3348976" y="5806733"/>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5B141A8-034C-E044-E357-9FECCE488DB2}"/>
              </a:ext>
            </a:extLst>
          </p:cNvPr>
          <p:cNvCxnSpPr>
            <a:cxnSpLocks/>
          </p:cNvCxnSpPr>
          <p:nvPr/>
        </p:nvCxnSpPr>
        <p:spPr>
          <a:xfrm>
            <a:off x="4435649"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0241B898-C61F-D362-0679-91B06C46358F}"/>
              </a:ext>
            </a:extLst>
          </p:cNvPr>
          <p:cNvSpPr txBox="1"/>
          <p:nvPr/>
        </p:nvSpPr>
        <p:spPr>
          <a:xfrm>
            <a:off x="2472932" y="6241830"/>
            <a:ext cx="2649070" cy="261610"/>
          </a:xfrm>
          <a:prstGeom prst="rect">
            <a:avLst/>
          </a:prstGeom>
          <a:noFill/>
        </p:spPr>
        <p:txBody>
          <a:bodyPr wrap="square" rtlCol="0">
            <a:spAutoFit/>
          </a:bodyPr>
          <a:lstStyle/>
          <a:p>
            <a:pPr algn="ctr"/>
            <a:r>
              <a:rPr lang="en-ES" sz="1100" dirty="0">
                <a:solidFill>
                  <a:srgbClr val="32B9AF"/>
                </a:solidFill>
              </a:rPr>
              <a:t>Time window 2</a:t>
            </a:r>
          </a:p>
        </p:txBody>
      </p:sp>
    </p:spTree>
    <p:extLst>
      <p:ext uri="{BB962C8B-B14F-4D97-AF65-F5344CB8AC3E}">
        <p14:creationId xmlns:p14="http://schemas.microsoft.com/office/powerpoint/2010/main" val="701653254"/>
      </p:ext>
    </p:extLst>
  </p:cSld>
  <p:clrMapOvr>
    <a:masterClrMapping/>
  </p:clrMapOvr>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2/4)</a:t>
            </a:r>
            <a:br>
              <a:rPr lang="en-US"/>
            </a:br>
            <a:r>
              <a:rPr lang="en-US"/>
              <a:t>Elaborate on a template with all the information that a partner should fill out when proposing a new API (family) to CAMARA.</a:t>
            </a:r>
            <a:br>
              <a:rPr lang="en-US"/>
            </a:br>
            <a:r>
              <a:rPr lang="en-US"/>
              <a:t> </a:t>
            </a:r>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466584"/>
            <a:ext cx="10712893" cy="669563"/>
          </a:xfrm>
          <a:ln>
            <a:noFill/>
          </a:ln>
        </p:spPr>
        <p:txBody>
          <a:bodyPr/>
          <a:lstStyle/>
          <a:p>
            <a:pPr>
              <a:lnSpc>
                <a:spcPct val="100000"/>
              </a:lnSpc>
              <a:spcBef>
                <a:spcPts val="600"/>
              </a:spcBef>
            </a:pPr>
            <a:r>
              <a:rPr lang="en-US" sz="2000" b="1" i="1" u="sng" dirty="0"/>
              <a:t>Summary</a:t>
            </a:r>
            <a:endParaRPr lang="en-US" sz="2000" i="1" u="sng" dirty="0"/>
          </a:p>
          <a:p>
            <a:pPr marL="285750" indent="-285750">
              <a:lnSpc>
                <a:spcPct val="100000"/>
              </a:lnSpc>
              <a:spcBef>
                <a:spcPts val="600"/>
              </a:spcBef>
              <a:buFont typeface="Arial" panose="020B0604020202020204" pitchFamily="34" charset="0"/>
              <a:buChar char="•"/>
            </a:pPr>
            <a:r>
              <a:rPr lang="en-US" sz="1800" dirty="0">
                <a:solidFill>
                  <a:schemeClr val="tx1"/>
                </a:solidFill>
              </a:rPr>
              <a:t>This template will be used as checklist to </a:t>
            </a:r>
            <a:r>
              <a:rPr lang="en-US" sz="1800" b="1" dirty="0">
                <a:solidFill>
                  <a:schemeClr val="tx1"/>
                </a:solidFill>
              </a:rPr>
              <a:t>decide on including/not including </a:t>
            </a:r>
            <a:r>
              <a:rPr lang="en-US" sz="1800" dirty="0">
                <a:solidFill>
                  <a:schemeClr val="tx1"/>
                </a:solidFill>
              </a:rPr>
              <a:t>the API proposal in the backlog.</a:t>
            </a:r>
          </a:p>
          <a:p>
            <a:pPr marL="285750" indent="-285750">
              <a:lnSpc>
                <a:spcPct val="100000"/>
              </a:lnSpc>
              <a:spcBef>
                <a:spcPts val="600"/>
              </a:spcBef>
              <a:buFont typeface="Arial" panose="020B0604020202020204" pitchFamily="34" charset="0"/>
              <a:buChar char="•"/>
            </a:pPr>
            <a:r>
              <a:rPr lang="en-US" sz="1800" dirty="0">
                <a:solidFill>
                  <a:schemeClr val="tx1"/>
                </a:solidFill>
              </a:rPr>
              <a:t>Upload this template into “API backlog </a:t>
            </a:r>
            <a:r>
              <a:rPr lang="en-US" sz="1800" dirty="0">
                <a:solidFill>
                  <a:srgbClr val="FF0000"/>
                </a:solidFill>
              </a:rPr>
              <a:t>/TBD” </a:t>
            </a:r>
            <a:r>
              <a:rPr lang="en-US" sz="1800" dirty="0">
                <a:solidFill>
                  <a:schemeClr val="tx1"/>
                </a:solidFill>
              </a:rPr>
              <a:t>directory, with this filename: </a:t>
            </a:r>
            <a:r>
              <a:rPr lang="en-US" sz="1800" dirty="0" err="1">
                <a:solidFill>
                  <a:srgbClr val="FF0000"/>
                </a:solidFill>
              </a:rPr>
              <a:t>APIproposal</a:t>
            </a:r>
            <a:r>
              <a:rPr lang="en-US" sz="1800" dirty="0">
                <a:solidFill>
                  <a:srgbClr val="FF0000"/>
                </a:solidFill>
              </a:rPr>
              <a:t>_&lt;name&gt;_&lt;owner&gt;.md</a:t>
            </a:r>
          </a:p>
          <a:p>
            <a:pPr>
              <a:lnSpc>
                <a:spcPct val="100000"/>
              </a:lnSpc>
              <a:spcBef>
                <a:spcPts val="600"/>
              </a:spcBef>
            </a:pPr>
            <a:endParaRPr lang="en-US" sz="18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585463706"/>
              </p:ext>
            </p:extLst>
          </p:nvPr>
        </p:nvGraphicFramePr>
        <p:xfrm>
          <a:off x="520256" y="2597058"/>
          <a:ext cx="10481561" cy="4053840"/>
        </p:xfrm>
        <a:graphic>
          <a:graphicData uri="http://schemas.openxmlformats.org/drawingml/2006/table">
            <a:tbl>
              <a:tblPr firstRow="1" bandRow="1">
                <a:tableStyleId>{00A15C55-8517-42AA-B614-E9B94910E393}</a:tableStyleId>
              </a:tblPr>
              <a:tblGrid>
                <a:gridCol w="2535975">
                  <a:extLst>
                    <a:ext uri="{9D8B030D-6E8A-4147-A177-3AD203B41FA5}">
                      <a16:colId xmlns:a16="http://schemas.microsoft.com/office/drawing/2014/main" val="1122001321"/>
                    </a:ext>
                  </a:extLst>
                </a:gridCol>
                <a:gridCol w="7945586">
                  <a:extLst>
                    <a:ext uri="{9D8B030D-6E8A-4147-A177-3AD203B41FA5}">
                      <a16:colId xmlns:a16="http://schemas.microsoft.com/office/drawing/2014/main" val="2857915169"/>
                    </a:ext>
                  </a:extLst>
                </a:gridCol>
              </a:tblGrid>
              <a:tr h="296848">
                <a:tc>
                  <a:txBody>
                    <a:bodyPr/>
                    <a:lstStyle/>
                    <a:p>
                      <a:pPr algn="ctr"/>
                      <a:r>
                        <a:rPr lang="en-ES" sz="1400" dirty="0"/>
                        <a:t>Fields</a:t>
                      </a:r>
                    </a:p>
                  </a:txBody>
                  <a:tcPr/>
                </a:tc>
                <a:tc>
                  <a:txBody>
                    <a:bodyPr/>
                    <a:lstStyle/>
                    <a:p>
                      <a:pPr algn="ctr"/>
                      <a:r>
                        <a:rPr lang="en-ES" sz="1400"/>
                        <a:t>Description</a:t>
                      </a:r>
                    </a:p>
                  </a:txBody>
                  <a:tcPr/>
                </a:tc>
                <a:extLst>
                  <a:ext uri="{0D108BD9-81ED-4DB2-BD59-A6C34878D82A}">
                    <a16:rowId xmlns:a16="http://schemas.microsoft.com/office/drawing/2014/main" val="1234000409"/>
                  </a:ext>
                </a:extLst>
              </a:tr>
              <a:tr h="267163">
                <a:tc>
                  <a:txBody>
                    <a:bodyPr/>
                    <a:lstStyle/>
                    <a:p>
                      <a:r>
                        <a:rPr lang="en-ES" sz="1200" b="1" dirty="0">
                          <a:solidFill>
                            <a:schemeClr val="tx1"/>
                          </a:solidFill>
                        </a:rPr>
                        <a:t>API proposal name</a:t>
                      </a:r>
                    </a:p>
                  </a:txBody>
                  <a:tcPr/>
                </a:tc>
                <a:tc>
                  <a:txBody>
                    <a:bodyPr/>
                    <a:lstStyle/>
                    <a:p>
                      <a:r>
                        <a:rPr lang="en-ES" sz="1200" dirty="0">
                          <a:solidFill>
                            <a:schemeClr val="tx1"/>
                          </a:solidFill>
                        </a:rPr>
                        <a:t>API proposal name</a:t>
                      </a:r>
                    </a:p>
                  </a:txBody>
                  <a:tcPr/>
                </a:tc>
                <a:extLst>
                  <a:ext uri="{0D108BD9-81ED-4DB2-BD59-A6C34878D82A}">
                    <a16:rowId xmlns:a16="http://schemas.microsoft.com/office/drawing/2014/main" val="1060846383"/>
                  </a:ext>
                </a:extLst>
              </a:tr>
              <a:tr h="267163">
                <a:tc>
                  <a:txBody>
                    <a:bodyPr/>
                    <a:lstStyle/>
                    <a:p>
                      <a:r>
                        <a:rPr lang="en-GB" sz="1200" b="1" dirty="0">
                          <a:solidFill>
                            <a:schemeClr val="tx1"/>
                          </a:solidFill>
                        </a:rPr>
                        <a:t>A</a:t>
                      </a:r>
                      <a:r>
                        <a:rPr lang="en-ES" sz="1200" b="1" dirty="0">
                          <a:solidFill>
                            <a:schemeClr val="tx1"/>
                          </a:solidFill>
                        </a:rPr>
                        <a:t>PI proposal owner</a:t>
                      </a:r>
                    </a:p>
                  </a:txBody>
                  <a:tcPr/>
                </a:tc>
                <a:tc>
                  <a:txBody>
                    <a:bodyPr/>
                    <a:lstStyle/>
                    <a:p>
                      <a:r>
                        <a:rPr lang="en-ES" sz="1200" dirty="0">
                          <a:solidFill>
                            <a:schemeClr val="tx1"/>
                          </a:solidFill>
                        </a:rPr>
                        <a:t>Company “X”</a:t>
                      </a:r>
                    </a:p>
                  </a:txBody>
                  <a:tcPr/>
                </a:tc>
                <a:extLst>
                  <a:ext uri="{0D108BD9-81ED-4DB2-BD59-A6C34878D82A}">
                    <a16:rowId xmlns:a16="http://schemas.microsoft.com/office/drawing/2014/main" val="3417304722"/>
                  </a:ext>
                </a:extLst>
              </a:tr>
              <a:tr h="267163">
                <a:tc>
                  <a:txBody>
                    <a:bodyPr/>
                    <a:lstStyle/>
                    <a:p>
                      <a:r>
                        <a:rPr lang="en-ES" sz="1200" b="1" dirty="0">
                          <a:solidFill>
                            <a:schemeClr val="tx1"/>
                          </a:solidFill>
                        </a:rPr>
                        <a:t>API summary</a:t>
                      </a:r>
                    </a:p>
                  </a:txBody>
                  <a:tcPr/>
                </a:tc>
                <a:tc>
                  <a:txBody>
                    <a:bodyPr/>
                    <a:lstStyle/>
                    <a:p>
                      <a:r>
                        <a:rPr lang="en-GB" sz="1200" dirty="0">
                          <a:solidFill>
                            <a:schemeClr val="tx1"/>
                          </a:solidFill>
                        </a:rPr>
                        <a:t>High level description of API objective, and 2/3 examples of in-scope business cases</a:t>
                      </a:r>
                      <a:endParaRPr lang="en-ES" sz="1200" dirty="0">
                        <a:solidFill>
                          <a:schemeClr val="tx1"/>
                        </a:solidFill>
                      </a:endParaRPr>
                    </a:p>
                  </a:txBody>
                  <a:tcPr/>
                </a:tc>
                <a:extLst>
                  <a:ext uri="{0D108BD9-81ED-4DB2-BD59-A6C34878D82A}">
                    <a16:rowId xmlns:a16="http://schemas.microsoft.com/office/drawing/2014/main" val="4121353333"/>
                  </a:ext>
                </a:extLst>
              </a:tr>
              <a:tr h="445272">
                <a:tc>
                  <a:txBody>
                    <a:bodyPr/>
                    <a:lstStyle/>
                    <a:p>
                      <a:r>
                        <a:rPr lang="en-ES" sz="1200" b="1" dirty="0">
                          <a:solidFill>
                            <a:schemeClr val="tx1"/>
                          </a:solidFill>
                        </a:rPr>
                        <a:t>Technical viability</a:t>
                      </a:r>
                    </a:p>
                  </a:txBody>
                  <a:tcPr/>
                </a:tc>
                <a:tc>
                  <a:txBody>
                    <a:bodyPr/>
                    <a:lstStyle/>
                    <a:p>
                      <a:r>
                        <a:rPr lang="en-ES" sz="1200" i="1" dirty="0">
                          <a:solidFill>
                            <a:schemeClr val="tx1"/>
                          </a:solidFill>
                        </a:rPr>
                        <a:t>Identify the underlying network/cloud capabilities which are needed for the support of CAMARA API, relating these capabilities them to standards maturity. Example: this API requires the availability of NEF with this Rel-15 “X” feature. </a:t>
                      </a:r>
                    </a:p>
                  </a:txBody>
                  <a:tcPr/>
                </a:tc>
                <a:extLst>
                  <a:ext uri="{0D108BD9-81ED-4DB2-BD59-A6C34878D82A}">
                    <a16:rowId xmlns:a16="http://schemas.microsoft.com/office/drawing/2014/main" val="1707792167"/>
                  </a:ext>
                </a:extLst>
              </a:tr>
              <a:tr h="445272">
                <a:tc>
                  <a:txBody>
                    <a:bodyPr/>
                    <a:lstStyle/>
                    <a:p>
                      <a:r>
                        <a:rPr lang="en-ES" sz="1200" b="1" dirty="0">
                          <a:solidFill>
                            <a:schemeClr val="tx1"/>
                          </a:solidFill>
                        </a:rPr>
                        <a:t>Commercial viability</a:t>
                      </a:r>
                    </a:p>
                  </a:txBody>
                  <a:tcPr/>
                </a:tc>
                <a:tc>
                  <a:txBody>
                    <a:bodyPr/>
                    <a:lstStyle/>
                    <a:p>
                      <a:r>
                        <a:rPr lang="en-ES" sz="1200" i="0" dirty="0">
                          <a:solidFill>
                            <a:schemeClr val="tx1"/>
                          </a:solidFill>
                        </a:rPr>
                        <a:t>Specify the availability of commercial (or industrialized open-source) solutions for the identified network/cloud capabilities. </a:t>
                      </a:r>
                    </a:p>
                  </a:txBody>
                  <a:tcPr/>
                </a:tc>
                <a:extLst>
                  <a:ext uri="{0D108BD9-81ED-4DB2-BD59-A6C34878D82A}">
                    <a16:rowId xmlns:a16="http://schemas.microsoft.com/office/drawing/2014/main" val="3889552399"/>
                  </a:ext>
                </a:extLst>
              </a:tr>
              <a:tr h="267163">
                <a:tc>
                  <a:txBody>
                    <a:bodyPr/>
                    <a:lstStyle/>
                    <a:p>
                      <a:r>
                        <a:rPr lang="en-ES" sz="1200" b="1" dirty="0">
                          <a:solidFill>
                            <a:schemeClr val="tx1"/>
                          </a:solidFill>
                        </a:rPr>
                        <a:t>User story</a:t>
                      </a:r>
                    </a:p>
                  </a:txBody>
                  <a:tcPr/>
                </a:tc>
                <a:tc>
                  <a:txBody>
                    <a:bodyPr/>
                    <a:lstStyle/>
                    <a:p>
                      <a:r>
                        <a:rPr lang="en-ES" sz="1200" dirty="0">
                          <a:solidFill>
                            <a:schemeClr val="tx1"/>
                          </a:solidFill>
                        </a:rPr>
                        <a:t>Fill out the user story template agreed in Commonalities with API details</a:t>
                      </a:r>
                    </a:p>
                  </a:txBody>
                  <a:tcPr/>
                </a:tc>
                <a:extLst>
                  <a:ext uri="{0D108BD9-81ED-4DB2-BD59-A6C34878D82A}">
                    <a16:rowId xmlns:a16="http://schemas.microsoft.com/office/drawing/2014/main" val="3940384840"/>
                  </a:ext>
                </a:extLst>
              </a:tr>
              <a:tr h="445272">
                <a:tc>
                  <a:txBody>
                    <a:bodyPr/>
                    <a:lstStyle/>
                    <a:p>
                      <a:r>
                        <a:rPr lang="en-ES" sz="1200" b="1" dirty="0">
                          <a:solidFill>
                            <a:schemeClr val="tx1"/>
                          </a:solidFill>
                          <a:highlight>
                            <a:srgbClr val="FFFF00"/>
                          </a:highlight>
                        </a:rPr>
                        <a:t>Net Neutrality impact</a:t>
                      </a:r>
                    </a:p>
                  </a:txBody>
                  <a:tcPr/>
                </a:tc>
                <a:tc>
                  <a:txBody>
                    <a:bodyPr/>
                    <a:lstStyle/>
                    <a:p>
                      <a:r>
                        <a:rPr lang="en-ES" sz="1200" dirty="0">
                          <a:solidFill>
                            <a:schemeClr val="tx1"/>
                          </a:solidFill>
                          <a:highlight>
                            <a:srgbClr val="FFFF00"/>
                          </a:highlight>
                        </a:rPr>
                        <a:t>The company presenting an API make an initial assement. The GSMA (public policy experts with support from Policy Group) could help the CAMARA SteerCo in making a final assessment before taking the API for approval </a:t>
                      </a:r>
                    </a:p>
                  </a:txBody>
                  <a:tcPr/>
                </a:tc>
                <a:extLst>
                  <a:ext uri="{0D108BD9-81ED-4DB2-BD59-A6C34878D82A}">
                    <a16:rowId xmlns:a16="http://schemas.microsoft.com/office/drawing/2014/main" val="3365387709"/>
                  </a:ext>
                </a:extLst>
              </a:tr>
              <a:tr h="267163">
                <a:tc>
                  <a:txBody>
                    <a:bodyPr/>
                    <a:lstStyle/>
                    <a:p>
                      <a:r>
                        <a:rPr lang="en-ES" sz="1200" b="1" dirty="0">
                          <a:solidFill>
                            <a:schemeClr val="tx1"/>
                          </a:solidFill>
                        </a:rPr>
                        <a:t>YAML code available?</a:t>
                      </a:r>
                    </a:p>
                  </a:txBody>
                  <a:tcPr/>
                </a:tc>
                <a:tc>
                  <a:txBody>
                    <a:bodyPr/>
                    <a:lstStyle/>
                    <a:p>
                      <a:r>
                        <a:rPr lang="en-ES" sz="1200" dirty="0">
                          <a:solidFill>
                            <a:schemeClr val="tx1"/>
                          </a:solidFill>
                        </a:rPr>
                        <a:t>YES / NO. </a:t>
                      </a:r>
                    </a:p>
                  </a:txBody>
                  <a:tcPr/>
                </a:tc>
                <a:extLst>
                  <a:ext uri="{0D108BD9-81ED-4DB2-BD59-A6C34878D82A}">
                    <a16:rowId xmlns:a16="http://schemas.microsoft.com/office/drawing/2014/main" val="2277071485"/>
                  </a:ext>
                </a:extLst>
              </a:tr>
              <a:tr h="267163">
                <a:tc>
                  <a:txBody>
                    <a:bodyPr/>
                    <a:lstStyle/>
                    <a:p>
                      <a:r>
                        <a:rPr lang="en-ES" sz="1200" b="1" dirty="0">
                          <a:solidFill>
                            <a:schemeClr val="tx1"/>
                          </a:solidFill>
                        </a:rPr>
                        <a:t>Validated in lab/production env?</a:t>
                      </a:r>
                    </a:p>
                  </a:txBody>
                  <a:tcPr/>
                </a:tc>
                <a:tc>
                  <a:txBody>
                    <a:bodyPr/>
                    <a:lstStyle/>
                    <a:p>
                      <a:r>
                        <a:rPr lang="en-ES" sz="1200" dirty="0">
                          <a:solidFill>
                            <a:schemeClr val="tx1"/>
                          </a:solidFill>
                        </a:rPr>
                        <a:t>YES / NO. If YES, specify if it was lab network or production network. </a:t>
                      </a:r>
                    </a:p>
                  </a:txBody>
                  <a:tcPr/>
                </a:tc>
                <a:extLst>
                  <a:ext uri="{0D108BD9-81ED-4DB2-BD59-A6C34878D82A}">
                    <a16:rowId xmlns:a16="http://schemas.microsoft.com/office/drawing/2014/main" val="3754235544"/>
                  </a:ext>
                </a:extLst>
              </a:tr>
              <a:tr h="267163">
                <a:tc>
                  <a:txBody>
                    <a:bodyPr/>
                    <a:lstStyle/>
                    <a:p>
                      <a:r>
                        <a:rPr lang="en-ES" sz="1200" b="1" dirty="0">
                          <a:solidFill>
                            <a:schemeClr val="tx1"/>
                          </a:solidFill>
                        </a:rPr>
                        <a:t>Validated with real customers?</a:t>
                      </a:r>
                    </a:p>
                  </a:txBody>
                  <a:tcPr/>
                </a:tc>
                <a:tc>
                  <a:txBody>
                    <a:bodyPr/>
                    <a:lstStyle/>
                    <a:p>
                      <a:r>
                        <a:rPr lang="en-ES" sz="1200" dirty="0">
                          <a:solidFill>
                            <a:schemeClr val="tx1"/>
                          </a:solidFill>
                        </a:rPr>
                        <a:t>YES / NO. If YES, specify how many customers participated in the evaluation , and their use cases. </a:t>
                      </a:r>
                    </a:p>
                  </a:txBody>
                  <a:tcPr/>
                </a:tc>
                <a:extLst>
                  <a:ext uri="{0D108BD9-81ED-4DB2-BD59-A6C34878D82A}">
                    <a16:rowId xmlns:a16="http://schemas.microsoft.com/office/drawing/2014/main" val="330889523"/>
                  </a:ext>
                </a:extLst>
              </a:tr>
              <a:tr h="267163">
                <a:tc>
                  <a:txBody>
                    <a:bodyPr/>
                    <a:lstStyle/>
                    <a:p>
                      <a:r>
                        <a:rPr lang="en-ES" sz="1200" b="1" dirty="0">
                          <a:solidFill>
                            <a:schemeClr val="tx1"/>
                          </a:solidFill>
                        </a:rPr>
                        <a:t>Validated with operators?</a:t>
                      </a:r>
                    </a:p>
                  </a:txBody>
                  <a:tcPr/>
                </a:tc>
                <a:tc>
                  <a:txBody>
                    <a:bodyPr/>
                    <a:lstStyle/>
                    <a:p>
                      <a:r>
                        <a:rPr lang="en-ES" sz="1200" dirty="0">
                          <a:solidFill>
                            <a:schemeClr val="tx1"/>
                          </a:solidFill>
                        </a:rPr>
                        <a:t>YES / NO. If YES, specify which operators participated in the evaluation.</a:t>
                      </a:r>
                    </a:p>
                  </a:txBody>
                  <a:tcPr/>
                </a:tc>
                <a:extLst>
                  <a:ext uri="{0D108BD9-81ED-4DB2-BD59-A6C34878D82A}">
                    <a16:rowId xmlns:a16="http://schemas.microsoft.com/office/drawing/2014/main" val="1515282217"/>
                  </a:ext>
                </a:extLst>
              </a:tr>
            </a:tbl>
          </a:graphicData>
        </a:graphic>
      </p:graphicFrame>
    </p:spTree>
    <p:extLst>
      <p:ext uri="{BB962C8B-B14F-4D97-AF65-F5344CB8AC3E}">
        <p14:creationId xmlns:p14="http://schemas.microsoft.com/office/powerpoint/2010/main" val="1986817877"/>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3/4)</a:t>
            </a:r>
            <a:br>
              <a:rPr lang="en-US"/>
            </a:br>
            <a:r>
              <a:rPr lang="en-GB"/>
              <a:t>Summary report to be sent to the </a:t>
            </a:r>
            <a:r>
              <a:rPr lang="en-GB" err="1"/>
              <a:t>SteerCo</a:t>
            </a:r>
            <a:br>
              <a:rPr lang="en-GB" i="1"/>
            </a:br>
            <a:endParaRPr lang="en-US"/>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1888563267"/>
              </p:ext>
            </p:extLst>
          </p:nvPr>
        </p:nvGraphicFramePr>
        <p:xfrm>
          <a:off x="618565" y="3984493"/>
          <a:ext cx="10383246" cy="2316480"/>
        </p:xfrm>
        <a:graphic>
          <a:graphicData uri="http://schemas.openxmlformats.org/drawingml/2006/table">
            <a:tbl>
              <a:tblPr firstRow="1" bandRow="1">
                <a:tableStyleId>{00A15C55-8517-42AA-B614-E9B94910E393}</a:tableStyleId>
              </a:tblPr>
              <a:tblGrid>
                <a:gridCol w="2487844">
                  <a:extLst>
                    <a:ext uri="{9D8B030D-6E8A-4147-A177-3AD203B41FA5}">
                      <a16:colId xmlns:a16="http://schemas.microsoft.com/office/drawing/2014/main" val="1122001321"/>
                    </a:ext>
                  </a:extLst>
                </a:gridCol>
                <a:gridCol w="1076478">
                  <a:extLst>
                    <a:ext uri="{9D8B030D-6E8A-4147-A177-3AD203B41FA5}">
                      <a16:colId xmlns:a16="http://schemas.microsoft.com/office/drawing/2014/main" val="2857915169"/>
                    </a:ext>
                  </a:extLst>
                </a:gridCol>
                <a:gridCol w="1158236">
                  <a:extLst>
                    <a:ext uri="{9D8B030D-6E8A-4147-A177-3AD203B41FA5}">
                      <a16:colId xmlns:a16="http://schemas.microsoft.com/office/drawing/2014/main" val="447695197"/>
                    </a:ext>
                  </a:extLst>
                </a:gridCol>
                <a:gridCol w="1417136">
                  <a:extLst>
                    <a:ext uri="{9D8B030D-6E8A-4147-A177-3AD203B41FA5}">
                      <a16:colId xmlns:a16="http://schemas.microsoft.com/office/drawing/2014/main" val="267801703"/>
                    </a:ext>
                  </a:extLst>
                </a:gridCol>
                <a:gridCol w="1526147">
                  <a:extLst>
                    <a:ext uri="{9D8B030D-6E8A-4147-A177-3AD203B41FA5}">
                      <a16:colId xmlns:a16="http://schemas.microsoft.com/office/drawing/2014/main" val="3670368388"/>
                    </a:ext>
                  </a:extLst>
                </a:gridCol>
                <a:gridCol w="1485267">
                  <a:extLst>
                    <a:ext uri="{9D8B030D-6E8A-4147-A177-3AD203B41FA5}">
                      <a16:colId xmlns:a16="http://schemas.microsoft.com/office/drawing/2014/main" val="2525223860"/>
                    </a:ext>
                  </a:extLst>
                </a:gridCol>
                <a:gridCol w="1232138">
                  <a:extLst>
                    <a:ext uri="{9D8B030D-6E8A-4147-A177-3AD203B41FA5}">
                      <a16:colId xmlns:a16="http://schemas.microsoft.com/office/drawing/2014/main" val="4211738246"/>
                    </a:ext>
                  </a:extLst>
                </a:gridCol>
              </a:tblGrid>
              <a:tr h="256756">
                <a:tc>
                  <a:txBody>
                    <a:bodyPr/>
                    <a:lstStyle/>
                    <a:p>
                      <a:pPr algn="ctr"/>
                      <a:r>
                        <a:rPr lang="en-ES" sz="1400"/>
                        <a:t>Fields</a:t>
                      </a:r>
                    </a:p>
                  </a:txBody>
                  <a:tcPr/>
                </a:tc>
                <a:tc gridSpan="6">
                  <a:txBody>
                    <a:bodyPr/>
                    <a:lstStyle/>
                    <a:p>
                      <a:pPr algn="ctr"/>
                      <a:r>
                        <a:rPr lang="en-ES" sz="1400"/>
                        <a:t>Description</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234000409"/>
                  </a:ext>
                </a:extLst>
              </a:tr>
              <a:tr h="231081">
                <a:tc>
                  <a:txBody>
                    <a:bodyPr/>
                    <a:lstStyle/>
                    <a:p>
                      <a:r>
                        <a:rPr lang="en-GB" sz="1200" b="1" dirty="0">
                          <a:solidFill>
                            <a:schemeClr val="tx1"/>
                          </a:solidFill>
                        </a:rPr>
                        <a:t>A</a:t>
                      </a:r>
                      <a:r>
                        <a:rPr lang="en-ES" sz="1200" b="1" dirty="0">
                          <a:solidFill>
                            <a:schemeClr val="tx1"/>
                          </a:solidFill>
                        </a:rPr>
                        <a:t>PI proposal name</a:t>
                      </a:r>
                    </a:p>
                  </a:txBody>
                  <a:tcPr/>
                </a:tc>
                <a:tc gridSpan="6">
                  <a:txBody>
                    <a:bodyPr/>
                    <a:lstStyle/>
                    <a:p>
                      <a:r>
                        <a:rPr lang="en-ES" sz="1200" dirty="0">
                          <a:solidFill>
                            <a:schemeClr val="tx1"/>
                          </a:solidFill>
                        </a:rPr>
                        <a:t>API proposal name</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698136962"/>
                  </a:ext>
                </a:extLst>
              </a:tr>
              <a:tr h="231081">
                <a:tc>
                  <a:txBody>
                    <a:bodyPr/>
                    <a:lstStyle/>
                    <a:p>
                      <a:r>
                        <a:rPr lang="en-ES" sz="1200" b="1">
                          <a:solidFill>
                            <a:schemeClr val="tx1"/>
                          </a:solidFill>
                        </a:rPr>
                        <a:t>API proposal owner </a:t>
                      </a:r>
                    </a:p>
                  </a:txBody>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ES" sz="1200">
                          <a:solidFill>
                            <a:schemeClr val="tx1"/>
                          </a:solidFill>
                        </a:rPr>
                        <a:t>Company “X”</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208033637"/>
                  </a:ext>
                </a:extLst>
              </a:tr>
              <a:tr h="231081">
                <a:tc>
                  <a:txBody>
                    <a:bodyPr/>
                    <a:lstStyle/>
                    <a:p>
                      <a:r>
                        <a:rPr lang="en-ES" sz="1200" b="1">
                          <a:solidFill>
                            <a:schemeClr val="tx1"/>
                          </a:solidFill>
                        </a:rPr>
                        <a:t>API proposal registration date</a:t>
                      </a:r>
                    </a:p>
                  </a:txBody>
                  <a:tcPr/>
                </a:tc>
                <a:tc gridSpan="6">
                  <a:txBody>
                    <a:bodyPr/>
                    <a:lstStyle/>
                    <a:p>
                      <a:r>
                        <a:rPr lang="en-ES" sz="1200">
                          <a:solidFill>
                            <a:schemeClr val="tx1"/>
                          </a:solidFill>
                        </a:rPr>
                        <a:t>YYYY/MM/DD</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419740618"/>
                  </a:ext>
                </a:extLst>
              </a:tr>
              <a:tr h="231081">
                <a:tc>
                  <a:txBody>
                    <a:bodyPr/>
                    <a:lstStyle/>
                    <a:p>
                      <a:r>
                        <a:rPr lang="en-ES" sz="1200" b="1">
                          <a:solidFill>
                            <a:schemeClr val="tx1"/>
                          </a:solidFill>
                        </a:rPr>
                        <a:t>API proposal supporters</a:t>
                      </a:r>
                    </a:p>
                  </a:txBody>
                  <a:tcPr/>
                </a:tc>
                <a:tc gridSpan="6">
                  <a:txBody>
                    <a:bodyPr/>
                    <a:lstStyle/>
                    <a:p>
                      <a:r>
                        <a:rPr lang="en-ES" sz="1200" dirty="0">
                          <a:solidFill>
                            <a:schemeClr val="tx1"/>
                          </a:solidFill>
                        </a:rPr>
                        <a:t>Specify the companies that support the API propos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509610961"/>
                  </a:ext>
                </a:extLst>
              </a:tr>
              <a:tr h="385134">
                <a:tc>
                  <a:txBody>
                    <a:bodyPr/>
                    <a:lstStyle/>
                    <a:p>
                      <a:r>
                        <a:rPr lang="en-ES" sz="1200" b="1">
                          <a:solidFill>
                            <a:schemeClr val="tx1"/>
                          </a:solidFill>
                        </a:rPr>
                        <a:t>Checklist (YES/NO)</a:t>
                      </a:r>
                    </a:p>
                  </a:txBody>
                  <a:tcPr/>
                </a:tc>
                <a:tc>
                  <a:txBody>
                    <a:bodyPr/>
                    <a:lstStyle/>
                    <a:p>
                      <a:r>
                        <a:rPr lang="en-ES" sz="1200" dirty="0">
                          <a:solidFill>
                            <a:schemeClr val="tx1"/>
                          </a:solidFill>
                        </a:rPr>
                        <a:t>Technically viable?</a:t>
                      </a:r>
                    </a:p>
                  </a:txBody>
                  <a:tcPr/>
                </a:tc>
                <a:tc>
                  <a:txBody>
                    <a:bodyPr/>
                    <a:lstStyle/>
                    <a:p>
                      <a:r>
                        <a:rPr lang="en-ES" sz="1200" dirty="0">
                          <a:solidFill>
                            <a:schemeClr val="tx1"/>
                          </a:solidFill>
                        </a:rPr>
                        <a:t>Commercially viable?</a:t>
                      </a:r>
                    </a:p>
                  </a:txBody>
                  <a:tcPr/>
                </a:tc>
                <a:tc>
                  <a:txBody>
                    <a:bodyPr/>
                    <a:lstStyle/>
                    <a:p>
                      <a:r>
                        <a:rPr lang="en-ES" sz="1200" dirty="0">
                          <a:solidFill>
                            <a:schemeClr val="tx1"/>
                          </a:solidFill>
                        </a:rPr>
                        <a:t>YAML code available? </a:t>
                      </a:r>
                    </a:p>
                  </a:txBody>
                  <a:tcPr/>
                </a:tc>
                <a:tc>
                  <a:txBody>
                    <a:bodyPr/>
                    <a:lstStyle/>
                    <a:p>
                      <a:r>
                        <a:rPr lang="en-ES" sz="1200" dirty="0">
                          <a:solidFill>
                            <a:schemeClr val="tx1"/>
                          </a:solidFill>
                        </a:rPr>
                        <a:t>Validated in lab/prod env?</a:t>
                      </a:r>
                    </a:p>
                  </a:txBody>
                  <a:tcPr/>
                </a:tc>
                <a:tc>
                  <a:txBody>
                    <a:bodyPr/>
                    <a:lstStyle/>
                    <a:p>
                      <a:r>
                        <a:rPr lang="en-ES" sz="1200" dirty="0">
                          <a:solidFill>
                            <a:schemeClr val="tx1"/>
                          </a:solidFill>
                        </a:rPr>
                        <a:t>Validated with customers?</a:t>
                      </a:r>
                    </a:p>
                  </a:txBody>
                  <a:tcPr/>
                </a:tc>
                <a:tc>
                  <a:txBody>
                    <a:bodyPr/>
                    <a:lstStyle/>
                    <a:p>
                      <a:r>
                        <a:rPr lang="en-ES" sz="1200" dirty="0">
                          <a:solidFill>
                            <a:schemeClr val="tx1"/>
                          </a:solidFill>
                        </a:rPr>
                        <a:t>Validated with operators?</a:t>
                      </a:r>
                    </a:p>
                  </a:txBody>
                  <a:tcPr/>
                </a:tc>
                <a:extLst>
                  <a:ext uri="{0D108BD9-81ED-4DB2-BD59-A6C34878D82A}">
                    <a16:rowId xmlns:a16="http://schemas.microsoft.com/office/drawing/2014/main" val="2017595493"/>
                  </a:ext>
                </a:extLst>
              </a:tr>
              <a:tr h="327606">
                <a:tc>
                  <a:txBody>
                    <a:bodyPr/>
                    <a:lstStyle/>
                    <a:p>
                      <a:r>
                        <a:rPr lang="en-ES" sz="1200" b="1" dirty="0">
                          <a:solidFill>
                            <a:schemeClr val="tx1"/>
                          </a:solidFill>
                          <a:highlight>
                            <a:srgbClr val="FFFF00"/>
                          </a:highlight>
                        </a:rPr>
                        <a:t>Net neurality impact</a:t>
                      </a:r>
                    </a:p>
                  </a:txBody>
                  <a:tcPr/>
                </a:tc>
                <a:tc gridSpan="6">
                  <a:txBody>
                    <a:bodyPr/>
                    <a:lstStyle/>
                    <a:p>
                      <a:r>
                        <a:rPr lang="en-ES" sz="1200" dirty="0">
                          <a:solidFill>
                            <a:schemeClr val="tx1"/>
                          </a:solidFill>
                          <a:highlight>
                            <a:srgbClr val="FFFF00"/>
                          </a:highlight>
                        </a:rPr>
                        <a:t>The GSMA (public policy experts with support from Policy Group) will use this info to help CAMARA SteerCo in making a final assessment before taking the API for approv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754235544"/>
                  </a:ext>
                </a:extLst>
              </a:tr>
            </a:tbl>
          </a:graphicData>
        </a:graphic>
      </p:graphicFrame>
      <p:sp>
        <p:nvSpPr>
          <p:cNvPr id="6" name="Content Placeholder 2">
            <a:extLst>
              <a:ext uri="{FF2B5EF4-FFF2-40B4-BE49-F238E27FC236}">
                <a16:creationId xmlns:a16="http://schemas.microsoft.com/office/drawing/2014/main" id="{F512B54F-D54A-01B4-EF57-61990FE3001A}"/>
              </a:ext>
            </a:extLst>
          </p:cNvPr>
          <p:cNvSpPr txBox="1">
            <a:spLocks/>
          </p:cNvSpPr>
          <p:nvPr/>
        </p:nvSpPr>
        <p:spPr>
          <a:xfrm>
            <a:off x="338076" y="3266623"/>
            <a:ext cx="10944225"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After Time Window 2, the API backlog coordinator sends a summary report for </a:t>
            </a:r>
            <a:r>
              <a:rPr lang="en-US" sz="1800" dirty="0" err="1">
                <a:solidFill>
                  <a:schemeClr val="tx1"/>
                </a:solidFill>
              </a:rPr>
              <a:t>SteerCo</a:t>
            </a:r>
            <a:r>
              <a:rPr lang="en-US" sz="1800" dirty="0">
                <a:solidFill>
                  <a:schemeClr val="tx1"/>
                </a:solidFill>
              </a:rPr>
              <a:t> approval. An example of summary report structure. </a:t>
            </a:r>
            <a:endParaRPr lang="en-US" sz="1800" dirty="0">
              <a:solidFill>
                <a:srgbClr val="FF0000"/>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pic>
        <p:nvPicPr>
          <p:cNvPr id="72" name="Picture 71">
            <a:extLst>
              <a:ext uri="{FF2B5EF4-FFF2-40B4-BE49-F238E27FC236}">
                <a16:creationId xmlns:a16="http://schemas.microsoft.com/office/drawing/2014/main" id="{B11595CB-6270-DDD7-C421-091A2BA8F4F9}"/>
              </a:ext>
            </a:extLst>
          </p:cNvPr>
          <p:cNvPicPr>
            <a:picLocks noChangeAspect="1"/>
          </p:cNvPicPr>
          <p:nvPr/>
        </p:nvPicPr>
        <p:blipFill>
          <a:blip r:embed="rId7"/>
          <a:stretch>
            <a:fillRect/>
          </a:stretch>
        </p:blipFill>
        <p:spPr>
          <a:xfrm>
            <a:off x="1585257" y="1247724"/>
            <a:ext cx="8351557" cy="1970592"/>
          </a:xfrm>
          <a:prstGeom prst="rect">
            <a:avLst/>
          </a:prstGeom>
        </p:spPr>
      </p:pic>
    </p:spTree>
    <p:extLst>
      <p:ext uri="{BB962C8B-B14F-4D97-AF65-F5344CB8AC3E}">
        <p14:creationId xmlns:p14="http://schemas.microsoft.com/office/powerpoint/2010/main" val="1411109031"/>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4/4)</a:t>
            </a:r>
            <a:br>
              <a:rPr lang="en-US"/>
            </a:br>
            <a:r>
              <a:rPr lang="en-GB"/>
              <a:t>Work out guidelines for the </a:t>
            </a:r>
            <a:r>
              <a:rPr lang="en-GB" err="1"/>
              <a:t>SteerCo</a:t>
            </a:r>
            <a:r>
              <a:rPr lang="en-GB"/>
              <a:t> to decide on new Sub Projects.</a:t>
            </a:r>
            <a:br>
              <a:rPr lang="en-GB"/>
            </a:br>
            <a:br>
              <a:rPr lang="en-GB" i="1"/>
            </a:b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368249"/>
            <a:ext cx="10712893" cy="669563"/>
          </a:xfrm>
        </p:spPr>
        <p:txBody>
          <a:bodyPr/>
          <a:lstStyle/>
          <a:p>
            <a:pPr marL="285750" indent="-285750">
              <a:lnSpc>
                <a:spcPct val="100000"/>
              </a:lnSpc>
              <a:spcBef>
                <a:spcPts val="600"/>
              </a:spcBef>
              <a:buFont typeface="Arial" panose="020B0604020202020204" pitchFamily="34" charset="0"/>
              <a:buChar char="•"/>
            </a:pPr>
            <a:r>
              <a:rPr lang="en-US" sz="1600" dirty="0">
                <a:solidFill>
                  <a:schemeClr val="tx1"/>
                </a:solidFill>
              </a:rPr>
              <a:t>Upon receiving the summary report from the API backlog coordinator, </a:t>
            </a:r>
            <a:r>
              <a:rPr lang="en-US" sz="1600" dirty="0" err="1">
                <a:solidFill>
                  <a:schemeClr val="tx1"/>
                </a:solidFill>
              </a:rPr>
              <a:t>SteerCo</a:t>
            </a:r>
            <a:r>
              <a:rPr lang="en-US" sz="1600" dirty="0">
                <a:solidFill>
                  <a:schemeClr val="tx1"/>
                </a:solidFill>
              </a:rPr>
              <a:t> triggers a two-step procedure.  </a:t>
            </a:r>
          </a:p>
          <a:p>
            <a:pPr marL="285750" indent="-285750">
              <a:lnSpc>
                <a:spcPct val="100000"/>
              </a:lnSpc>
              <a:spcBef>
                <a:spcPts val="600"/>
              </a:spcBef>
              <a:buFont typeface="Arial" panose="020B0604020202020204" pitchFamily="34" charset="0"/>
              <a:buChar char="•"/>
            </a:pPr>
            <a:r>
              <a:rPr lang="en-US" sz="1600" b="1" dirty="0">
                <a:solidFill>
                  <a:schemeClr val="tx1"/>
                </a:solidFill>
                <a:highlight>
                  <a:srgbClr val="FFFF00"/>
                </a:highlight>
              </a:rPr>
              <a:t>Step #1:</a:t>
            </a:r>
            <a:r>
              <a:rPr lang="en-US" sz="1600" dirty="0">
                <a:solidFill>
                  <a:schemeClr val="tx1"/>
                </a:solidFill>
                <a:highlight>
                  <a:srgbClr val="FFFF00"/>
                </a:highlight>
              </a:rPr>
              <a:t> </a:t>
            </a:r>
            <a:r>
              <a:rPr lang="en-ES" sz="1600" b="1" dirty="0">
                <a:solidFill>
                  <a:schemeClr val="tx1"/>
                </a:solidFill>
                <a:highlight>
                  <a:srgbClr val="FFFF00"/>
                </a:highlight>
              </a:rPr>
              <a:t>SteerCo contacts GSMA </a:t>
            </a:r>
            <a:r>
              <a:rPr lang="en-US" sz="1600" b="1" dirty="0">
                <a:solidFill>
                  <a:schemeClr val="tx1"/>
                </a:solidFill>
                <a:highlight>
                  <a:srgbClr val="FFFF00"/>
                </a:highlight>
              </a:rPr>
              <a:t>(Public Policy Expert with support from Policy Group) to help making a final assessment on API adherence to Net Neutrality.</a:t>
            </a:r>
            <a:r>
              <a:rPr lang="en-US" sz="1600" dirty="0">
                <a:solidFill>
                  <a:schemeClr val="tx1"/>
                </a:solidFill>
                <a:highlight>
                  <a:srgbClr val="FFFF00"/>
                </a:highlight>
              </a:rPr>
              <a:t> </a:t>
            </a:r>
            <a:endParaRPr lang="en-US" sz="1400" dirty="0">
              <a:solidFill>
                <a:schemeClr val="tx1"/>
              </a:solidFill>
              <a:highlight>
                <a:srgbClr val="FFFF00"/>
              </a:highlight>
            </a:endParaRPr>
          </a:p>
          <a:p>
            <a:pPr marL="702900" lvl="2" indent="-342900">
              <a:lnSpc>
                <a:spcPct val="100000"/>
              </a:lnSpc>
              <a:spcBef>
                <a:spcPts val="0"/>
              </a:spcBef>
              <a:buSzPct val="100000"/>
              <a:buFont typeface="Courier New" panose="02070309020205020404" pitchFamily="49" charset="0"/>
              <a:buChar char="o"/>
            </a:pPr>
            <a:r>
              <a:rPr lang="en-ES" sz="1400" dirty="0">
                <a:solidFill>
                  <a:schemeClr val="tx1"/>
                </a:solidFill>
                <a:highlight>
                  <a:srgbClr val="FFFF00"/>
                </a:highlight>
              </a:rPr>
              <a:t>During the meeting in Kuala Lumpur there was a comment around the impact of the APIs on Net Neutrality -&gt; worthwhile taking precautionary measures around it, ensuring net neutrality is considered by design in the API, from day 1.</a:t>
            </a:r>
          </a:p>
          <a:p>
            <a:pPr marL="702900" lvl="2" indent="-342900">
              <a:lnSpc>
                <a:spcPct val="100000"/>
              </a:lnSpc>
              <a:spcBef>
                <a:spcPts val="0"/>
              </a:spcBef>
              <a:buSzPct val="100000"/>
              <a:buFont typeface="Courier New" panose="02070309020205020404" pitchFamily="49" charset="0"/>
              <a:buChar char="o"/>
            </a:pPr>
            <a:r>
              <a:rPr lang="en-ES" sz="1400" dirty="0">
                <a:solidFill>
                  <a:schemeClr val="tx1"/>
                </a:solidFill>
                <a:highlight>
                  <a:srgbClr val="FFFF00"/>
                </a:highlight>
              </a:rPr>
              <a:t>This step will not necessarily slow down the process, but will help much in defending our message in front of Regulators and Public Adminisrations in the future.</a:t>
            </a:r>
          </a:p>
          <a:p>
            <a:pPr marL="342900" indent="-342900">
              <a:lnSpc>
                <a:spcPct val="100000"/>
              </a:lnSpc>
              <a:spcBef>
                <a:spcPts val="0"/>
              </a:spcBef>
              <a:buSzPct val="100000"/>
              <a:buFont typeface="Arial" panose="020B0604020202020204" pitchFamily="34" charset="0"/>
              <a:buChar char="•"/>
            </a:pPr>
            <a:r>
              <a:rPr lang="en-ES" sz="1600" b="1" dirty="0">
                <a:solidFill>
                  <a:schemeClr val="tx1"/>
                </a:solidFill>
              </a:rPr>
              <a:t>Step #2:</a:t>
            </a:r>
            <a:r>
              <a:rPr lang="en-ES" sz="1400" dirty="0">
                <a:solidFill>
                  <a:schemeClr val="tx1"/>
                </a:solidFill>
              </a:rPr>
              <a:t>  </a:t>
            </a:r>
            <a:r>
              <a:rPr lang="en-ES" sz="1600" b="1" dirty="0">
                <a:solidFill>
                  <a:schemeClr val="tx1"/>
                </a:solidFill>
              </a:rPr>
              <a:t>SteerCo</a:t>
            </a:r>
            <a:r>
              <a:rPr lang="en-ES" sz="1800" b="1" dirty="0">
                <a:solidFill>
                  <a:schemeClr val="tx1"/>
                </a:solidFill>
              </a:rPr>
              <a:t> </a:t>
            </a:r>
            <a:r>
              <a:rPr lang="en-ES" sz="1600" b="1" dirty="0">
                <a:solidFill>
                  <a:schemeClr val="tx1"/>
                </a:solidFill>
              </a:rPr>
              <a:t>decides on the allocation of API proposal into an existing/new Sub Project. </a:t>
            </a:r>
            <a:endParaRPr lang="en-ES" sz="1400" b="1" dirty="0">
              <a:solidFill>
                <a:schemeClr val="tx1"/>
              </a:solidFill>
            </a:endParaRPr>
          </a:p>
          <a:p>
            <a:pPr>
              <a:lnSpc>
                <a:spcPct val="100000"/>
              </a:lnSpc>
              <a:spcBef>
                <a:spcPts val="0"/>
              </a:spcBef>
            </a:pPr>
            <a:endParaRPr lang="en-US" sz="1800" b="1" i="1" u="sng" dirty="0"/>
          </a:p>
          <a:p>
            <a:pPr>
              <a:lnSpc>
                <a:spcPct val="100000"/>
              </a:lnSpc>
              <a:spcBef>
                <a:spcPts val="0"/>
              </a:spcBef>
            </a:pPr>
            <a:r>
              <a:rPr lang="en-US" sz="1800" b="1" i="1" u="sng" dirty="0"/>
              <a:t>Main tenets for </a:t>
            </a:r>
            <a:r>
              <a:rPr lang="en-US" sz="1800" b="1" i="1" u="sng" dirty="0" err="1"/>
              <a:t>SteerCo</a:t>
            </a:r>
            <a:r>
              <a:rPr lang="en-US" sz="1800" b="1" i="1" u="sng" dirty="0"/>
              <a:t> decision</a:t>
            </a:r>
          </a:p>
          <a:p>
            <a:pPr marL="285750" indent="-285750">
              <a:lnSpc>
                <a:spcPct val="100000"/>
              </a:lnSpc>
              <a:spcBef>
                <a:spcPts val="0"/>
              </a:spcBef>
              <a:buFont typeface="Arial" panose="020B0604020202020204" pitchFamily="34" charset="0"/>
              <a:buChar char="•"/>
            </a:pPr>
            <a:r>
              <a:rPr lang="en-US" sz="1600" dirty="0">
                <a:solidFill>
                  <a:schemeClr val="tx1"/>
                </a:solidFill>
              </a:rPr>
              <a:t>Open-source projects are contribution-driven.  There should no be guidelines to prevent partners to contribute. </a:t>
            </a:r>
            <a:endParaRPr lang="en-US" sz="1400" dirty="0">
              <a:solidFill>
                <a:schemeClr val="tx1"/>
              </a:solidFill>
            </a:endParaRPr>
          </a:p>
          <a:p>
            <a:pPr marL="522900" lvl="1" indent="-342900">
              <a:lnSpc>
                <a:spcPct val="100000"/>
              </a:lnSpc>
              <a:spcBef>
                <a:spcPts val="0"/>
              </a:spcBef>
              <a:buFont typeface="Courier New" panose="02070309020205020404" pitchFamily="49" charset="0"/>
              <a:buChar char="o"/>
            </a:pPr>
            <a:r>
              <a:rPr lang="en-US" sz="1400" dirty="0">
                <a:solidFill>
                  <a:schemeClr val="tx1"/>
                </a:solidFill>
              </a:rPr>
              <a:t>If a partner/customer/OPAG would like to contribute a certain API (which is on priority ”X” in the backlog, not necessarily priority 1) he is welcome to do it.</a:t>
            </a:r>
          </a:p>
          <a:p>
            <a:pPr marL="342900" indent="-342900">
              <a:lnSpc>
                <a:spcPct val="100000"/>
              </a:lnSpc>
              <a:spcBef>
                <a:spcPts val="600"/>
              </a:spcBef>
              <a:buFont typeface="Arial" panose="020B0604020202020204" pitchFamily="34" charset="0"/>
              <a:buChar char="•"/>
            </a:pPr>
            <a:r>
              <a:rPr lang="en-US" sz="1600" dirty="0" err="1">
                <a:solidFill>
                  <a:schemeClr val="tx1"/>
                </a:solidFill>
              </a:rPr>
              <a:t>SteerCo</a:t>
            </a:r>
            <a:r>
              <a:rPr lang="en-US" sz="1600" dirty="0">
                <a:solidFill>
                  <a:schemeClr val="tx1"/>
                </a:solidFill>
              </a:rPr>
              <a:t> shall make sure that APIs belonging together (close topic/content, API families) are developed within the same Sub Project, while ensuring that Sub Projects are not too small (i.e., difficult to track them down) or too big (difficult to be managed). </a:t>
            </a:r>
          </a:p>
          <a:p>
            <a:pPr marL="342900" indent="-342900">
              <a:lnSpc>
                <a:spcPct val="100000"/>
              </a:lnSpc>
              <a:spcBef>
                <a:spcPts val="600"/>
              </a:spcBef>
              <a:buFont typeface="Arial" panose="020B0604020202020204" pitchFamily="34" charset="0"/>
              <a:buChar char="•"/>
            </a:pPr>
            <a:r>
              <a:rPr lang="en-US" sz="1600" dirty="0">
                <a:solidFill>
                  <a:schemeClr val="tx1"/>
                </a:solidFill>
              </a:rPr>
              <a:t>There could be situations where API proposal complies with acceptance criteria (template duly filled out, adherence to net </a:t>
            </a:r>
            <a:r>
              <a:rPr lang="en-US" sz="1600" dirty="0" err="1">
                <a:solidFill>
                  <a:schemeClr val="tx1"/>
                </a:solidFill>
              </a:rPr>
              <a:t>neutraility</a:t>
            </a:r>
            <a:r>
              <a:rPr lang="en-US" sz="1600" dirty="0">
                <a:solidFill>
                  <a:schemeClr val="tx1"/>
                </a:solidFill>
              </a:rPr>
              <a:t>), but has not supporters other than the proponent company. What to do in this situation?	</a:t>
            </a:r>
          </a:p>
          <a:p>
            <a:pPr marL="522900" lvl="1" indent="-342900">
              <a:lnSpc>
                <a:spcPct val="100000"/>
              </a:lnSpc>
              <a:spcBef>
                <a:spcPts val="0"/>
              </a:spcBef>
              <a:buFont typeface="Courier New" panose="02070309020205020404" pitchFamily="49" charset="0"/>
              <a:buChar char="o"/>
            </a:pPr>
            <a:r>
              <a:rPr lang="en-US" sz="1400" dirty="0">
                <a:solidFill>
                  <a:schemeClr val="tx1"/>
                </a:solidFill>
              </a:rPr>
              <a:t>Recommendation is to accept the API proposal, and sees how successful will be in terms of industry adoption. </a:t>
            </a:r>
          </a:p>
          <a:p>
            <a:pPr marL="522900" lvl="1" indent="-342900">
              <a:lnSpc>
                <a:spcPct val="100000"/>
              </a:lnSpc>
              <a:spcBef>
                <a:spcPts val="600"/>
              </a:spcBef>
              <a:buFont typeface="Arial" panose="020B0604020202020204" pitchFamily="34" charset="0"/>
              <a:buChar char="•"/>
            </a:pPr>
            <a:endParaRPr lang="en-US" sz="16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68282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2" ma:contentTypeDescription="Create a new document." ma:contentTypeScope="" ma:versionID="7c492d3449a985622722a3240fbf291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656993d407a8d0871f400ce973a6501e"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8B3AEC-1B9B-4DB5-801E-C1A65C3DCD7E}">
  <ds:schemaRefs>
    <ds:schemaRef ds:uri="http://www.w3.org/XML/1998/namespace"/>
    <ds:schemaRef ds:uri="6126070c-0864-4b03-b2dc-aab5d8c39348"/>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97396690-0b91-46d2-ad5a-06f45914e19c"/>
    <ds:schemaRef ds:uri="http://purl.org/dc/dcmitype/"/>
    <ds:schemaRef ds:uri="http://purl.org/dc/terms/"/>
  </ds:schemaRefs>
</ds:datastoreItem>
</file>

<file path=customXml/itemProps2.xml><?xml version="1.0" encoding="utf-8"?>
<ds:datastoreItem xmlns:ds="http://schemas.openxmlformats.org/officeDocument/2006/customXml" ds:itemID="{8CBEDB7D-B7A7-43D6-93BF-49B559E2E9BB}">
  <ds:schemaRefs>
    <ds:schemaRef ds:uri="http://schemas.microsoft.com/sharepoint/v3/contenttype/forms"/>
  </ds:schemaRefs>
</ds:datastoreItem>
</file>

<file path=customXml/itemProps3.xml><?xml version="1.0" encoding="utf-8"?>
<ds:datastoreItem xmlns:ds="http://schemas.openxmlformats.org/officeDocument/2006/customXml" ds:itemID="{1F87FD96-7C16-4F76-8635-0E636B45AB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16_9</Template>
  <TotalTime>1213</TotalTime>
  <Words>2628</Words>
  <Application>Microsoft Macintosh PowerPoint</Application>
  <PresentationFormat>Custom</PresentationFormat>
  <Paragraphs>318</Paragraphs>
  <Slides>15</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ourier New</vt:lpstr>
      <vt:lpstr>FlexoSoft</vt:lpstr>
      <vt:lpstr>FlexoSoft Medium</vt:lpstr>
      <vt:lpstr>Wingdings</vt:lpstr>
      <vt:lpstr>Wingdings 2</vt:lpstr>
      <vt:lpstr>Detecon_Master</vt:lpstr>
      <vt:lpstr>think-cell Folie</vt:lpstr>
      <vt:lpstr>PowerPoint Presentation</vt:lpstr>
      <vt:lpstr>CAMARA governance structure</vt:lpstr>
      <vt:lpstr>Motivation</vt:lpstr>
      <vt:lpstr>Proposal</vt:lpstr>
      <vt:lpstr>Proposal</vt:lpstr>
      <vt:lpstr>Issue #57 (1/4) Specify the steps that compose the pipeline</vt:lpstr>
      <vt:lpstr>Issue #57 (2/4) Elaborate on a template with all the information that a partner should fill out when proposing a new API (family) to CAMARA.  </vt:lpstr>
      <vt:lpstr>Issue #57 (3/4) Summary report to be sent to the SteerCo </vt:lpstr>
      <vt:lpstr>Issue #57 (4/4) Work out guidelines for the SteerCo to decide on new Sub Projects.  </vt:lpstr>
      <vt:lpstr>Proposal</vt:lpstr>
      <vt:lpstr>Issue #12 (1/2) Change for API backlog</vt:lpstr>
      <vt:lpstr>Issue #12 (2/2) Change for API backlog</vt:lpstr>
      <vt:lpstr>Proposal</vt:lpstr>
      <vt:lpstr>Issue #59 Complete release of an API  - checklist </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JOSE ANTONIO ORDOÑEZ LUCENA</cp:lastModifiedBy>
  <cp:revision>4</cp:revision>
  <cp:lastPrinted>2021-07-20T14:27:29Z</cp:lastPrinted>
  <dcterms:created xsi:type="dcterms:W3CDTF">2021-01-08T13:06:59Z</dcterms:created>
  <dcterms:modified xsi:type="dcterms:W3CDTF">2022-08-01T13: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